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notesSlides/notesSlide1.xml" ContentType="application/vnd.openxmlformats-officedocument.presentationml.notesSlide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2.xml" ContentType="application/vnd.openxmlformats-officedocument.presentationml.notesSlide+xml"/>
  <Override PartName="/ppt/tags/tag89.xml" ContentType="application/vnd.openxmlformats-officedocument.presentationml.tags+xml"/>
  <Override PartName="/ppt/notesSlides/notesSlide3.xml" ContentType="application/vnd.openxmlformats-officedocument.presentationml.notesSlide+xml"/>
  <Override PartName="/ppt/tags/tag9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9" r:id="rId20"/>
  </p:sldMasterIdLst>
  <p:notesMasterIdLst>
    <p:notesMasterId r:id="rId30"/>
  </p:notesMasterIdLst>
  <p:handoutMasterIdLst>
    <p:handoutMasterId r:id="rId31"/>
  </p:handoutMasterIdLst>
  <p:sldIdLst>
    <p:sldId id="902" r:id="rId21"/>
    <p:sldId id="982" r:id="rId22"/>
    <p:sldId id="948" r:id="rId23"/>
    <p:sldId id="975" r:id="rId24"/>
    <p:sldId id="983" r:id="rId25"/>
    <p:sldId id="984" r:id="rId26"/>
    <p:sldId id="985" r:id="rId27"/>
    <p:sldId id="986" r:id="rId28"/>
    <p:sldId id="987" r:id="rId29"/>
  </p:sldIdLst>
  <p:sldSz cx="12198350" cy="6858000"/>
  <p:notesSz cx="7099300" cy="10234613"/>
  <p:custDataLst>
    <p:custData r:id="rId15"/>
    <p:tags r:id="rId32"/>
  </p:custDataLst>
  <p:defaultTextStyle>
    <a:defPPr>
      <a:defRPr lang="de-DE"/>
    </a:defPPr>
    <a:lvl1pPr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1pPr>
    <a:lvl2pPr marL="4572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2pPr>
    <a:lvl3pPr marL="9144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3pPr>
    <a:lvl4pPr marL="13716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4pPr>
    <a:lvl5pPr marL="1828800" algn="l" rtl="0" fontAlgn="base">
      <a:spcBef>
        <a:spcPct val="50000"/>
      </a:spcBef>
      <a:spcAft>
        <a:spcPct val="0"/>
      </a:spcAft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bg2"/>
        </a:solidFill>
        <a:latin typeface="Arial" pitchFamily="34" charset="0"/>
        <a:ea typeface="ＭＳ Ｐゴシック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884">
          <p15:clr>
            <a:srgbClr val="A4A3A4"/>
          </p15:clr>
        </p15:guide>
        <p15:guide id="2" orient="horz" pos="618">
          <p15:clr>
            <a:srgbClr val="A4A3A4"/>
          </p15:clr>
        </p15:guide>
        <p15:guide id="3" orient="horz" pos="2432">
          <p15:clr>
            <a:srgbClr val="A4A3A4"/>
          </p15:clr>
        </p15:guide>
        <p15:guide id="4" orient="horz" pos="2341">
          <p15:clr>
            <a:srgbClr val="A4A3A4"/>
          </p15:clr>
        </p15:guide>
        <p15:guide id="5" orient="horz" pos="890">
          <p15:clr>
            <a:srgbClr val="A4A3A4"/>
          </p15:clr>
        </p15:guide>
        <p15:guide id="6" orient="horz" pos="210">
          <p15:clr>
            <a:srgbClr val="A4A3A4"/>
          </p15:clr>
        </p15:guide>
        <p15:guide id="7" pos="395">
          <p15:clr>
            <a:srgbClr val="A4A3A4"/>
          </p15:clr>
        </p15:guide>
        <p15:guide id="8" pos="3842">
          <p15:clr>
            <a:srgbClr val="A4A3A4"/>
          </p15:clr>
        </p15:guide>
        <p15:guide id="9" pos="3933">
          <p15:clr>
            <a:srgbClr val="A4A3A4"/>
          </p15:clr>
        </p15:guide>
        <p15:guide id="10" pos="7380">
          <p15:clr>
            <a:srgbClr val="A4A3A4"/>
          </p15:clr>
        </p15:guide>
        <p15:guide id="11" pos="556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C3300"/>
    <a:srgbClr val="78CDCD"/>
    <a:srgbClr val="D2F0F0"/>
    <a:srgbClr val="AAE6F5"/>
    <a:srgbClr val="00557D"/>
    <a:srgbClr val="FDFDFC"/>
    <a:srgbClr val="FDFDFD"/>
    <a:srgbClr val="FDFEFD"/>
    <a:srgbClr val="FEFDFD"/>
    <a:srgbClr val="FEFE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45" autoAdjust="0"/>
    <p:restoredTop sz="98734" autoAdjust="0"/>
  </p:normalViewPr>
  <p:slideViewPr>
    <p:cSldViewPr snapToObjects="1" showGuides="1">
      <p:cViewPr>
        <p:scale>
          <a:sx n="75" d="100"/>
          <a:sy n="75" d="100"/>
        </p:scale>
        <p:origin x="-414" y="-804"/>
      </p:cViewPr>
      <p:guideLst>
        <p:guide orient="horz" pos="3906"/>
        <p:guide orient="horz" pos="663"/>
        <p:guide orient="horz" pos="2455"/>
        <p:guide orient="horz" pos="2364"/>
        <p:guide orient="horz" pos="913"/>
        <p:guide orient="horz" pos="210"/>
        <p:guide pos="395"/>
        <p:guide pos="3842"/>
        <p:guide pos="3933"/>
        <p:guide pos="7380"/>
        <p:guide pos="5566"/>
      </p:guideLst>
    </p:cSldViewPr>
  </p:slideViewPr>
  <p:outlineViewPr>
    <p:cViewPr>
      <p:scale>
        <a:sx n="33" d="100"/>
        <a:sy n="33" d="100"/>
      </p:scale>
      <p:origin x="0" y="127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Objects="1" showGuides="1">
      <p:cViewPr varScale="1">
        <p:scale>
          <a:sx n="76" d="100"/>
          <a:sy n="76" d="100"/>
        </p:scale>
        <p:origin x="2982" y="120"/>
      </p:cViewPr>
      <p:guideLst>
        <p:guide orient="horz" pos="3224"/>
        <p:guide pos="2236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8.xml"/><Relationship Id="rId13" Type="http://schemas.openxmlformats.org/officeDocument/2006/relationships/customXml" Target="../customXml/item13.xml"/><Relationship Id="rId18" Type="http://schemas.openxmlformats.org/officeDocument/2006/relationships/customXml" Target="../customXml/item18.xml"/><Relationship Id="rId26" Type="http://schemas.openxmlformats.org/officeDocument/2006/relationships/slide" Target="slides/slide6.xml"/><Relationship Id="rId3" Type="http://schemas.openxmlformats.org/officeDocument/2006/relationships/customXml" Target="../customXml/item3.xml"/><Relationship Id="rId21" Type="http://schemas.openxmlformats.org/officeDocument/2006/relationships/slide" Target="slides/slide1.xml"/><Relationship Id="rId34" Type="http://schemas.openxmlformats.org/officeDocument/2006/relationships/viewProps" Target="viewProps.xml"/><Relationship Id="rId7" Type="http://schemas.openxmlformats.org/officeDocument/2006/relationships/customXml" Target="../customXml/item7.xml"/><Relationship Id="rId12" Type="http://schemas.openxmlformats.org/officeDocument/2006/relationships/customXml" Target="../customXml/item12.xml"/><Relationship Id="rId17" Type="http://schemas.openxmlformats.org/officeDocument/2006/relationships/customXml" Target="../customXml/item17.xml"/><Relationship Id="rId25" Type="http://schemas.openxmlformats.org/officeDocument/2006/relationships/slide" Target="slides/slide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ustomXml" Target="../customXml/item16.xml"/><Relationship Id="rId20" Type="http://schemas.openxmlformats.org/officeDocument/2006/relationships/slideMaster" Target="slideMasters/slideMaster1.xml"/><Relationship Id="rId29" Type="http://schemas.openxmlformats.org/officeDocument/2006/relationships/slide" Target="slides/slide9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customXml" Target="../customXml/item11.xml"/><Relationship Id="rId24" Type="http://schemas.openxmlformats.org/officeDocument/2006/relationships/slide" Target="slides/slide4.xml"/><Relationship Id="rId32" Type="http://schemas.openxmlformats.org/officeDocument/2006/relationships/tags" Target="tags/tag1.xml"/><Relationship Id="rId5" Type="http://schemas.openxmlformats.org/officeDocument/2006/relationships/customXml" Target="../customXml/item5.xml"/><Relationship Id="rId15" Type="http://schemas.openxmlformats.org/officeDocument/2006/relationships/customXml" Target="../customXml/item15.xml"/><Relationship Id="rId23" Type="http://schemas.openxmlformats.org/officeDocument/2006/relationships/slide" Target="slides/slide3.xml"/><Relationship Id="rId28" Type="http://schemas.openxmlformats.org/officeDocument/2006/relationships/slide" Target="slides/slide8.xml"/><Relationship Id="rId36" Type="http://schemas.openxmlformats.org/officeDocument/2006/relationships/tableStyles" Target="tableStyles.xml"/><Relationship Id="rId10" Type="http://schemas.openxmlformats.org/officeDocument/2006/relationships/customXml" Target="../customXml/item10.xml"/><Relationship Id="rId19" Type="http://schemas.openxmlformats.org/officeDocument/2006/relationships/customXml" Target="../customXml/item19.xml"/><Relationship Id="rId31" Type="http://schemas.openxmlformats.org/officeDocument/2006/relationships/handoutMaster" Target="handoutMasters/handoutMaster1.xml"/><Relationship Id="rId4" Type="http://schemas.openxmlformats.org/officeDocument/2006/relationships/customXml" Target="../customXml/item4.xml"/><Relationship Id="rId9" Type="http://schemas.openxmlformats.org/officeDocument/2006/relationships/customXml" Target="../customXml/item9.xml"/><Relationship Id="rId14" Type="http://schemas.openxmlformats.org/officeDocument/2006/relationships/customXml" Target="../customXml/item14.xml"/><Relationship Id="rId22" Type="http://schemas.openxmlformats.org/officeDocument/2006/relationships/slide" Target="slides/slide2.xml"/><Relationship Id="rId27" Type="http://schemas.openxmlformats.org/officeDocument/2006/relationships/slide" Target="slides/slide7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302" name="Rectangle 6"/>
          <p:cNvSpPr>
            <a:spLocks noChangeArrowheads="1"/>
          </p:cNvSpPr>
          <p:nvPr/>
        </p:nvSpPr>
        <p:spPr bwMode="auto">
          <a:xfrm>
            <a:off x="0" y="0"/>
            <a:ext cx="7099300" cy="698500"/>
          </a:xfrm>
          <a:prstGeom prst="rect">
            <a:avLst/>
          </a:prstGeom>
          <a:solidFill>
            <a:srgbClr val="879BAA"/>
          </a:solidFill>
          <a:ln w="9525" algn="ctr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de-DE"/>
          </a:p>
        </p:txBody>
      </p:sp>
      <p:sp>
        <p:nvSpPr>
          <p:cNvPr id="173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bg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682163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endParaRPr lang="en-US" dirty="0">
              <a:latin typeface="Arial" pitchFamily="34" charset="0"/>
            </a:endParaRPr>
          </a:p>
        </p:txBody>
      </p:sp>
      <p:sp>
        <p:nvSpPr>
          <p:cNvPr id="1730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682163"/>
            <a:ext cx="3249612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Handout </a:t>
            </a:r>
            <a:fld id="{BFC713D8-7968-482B-A79F-9C586FE5053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31723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249613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3248025" cy="552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t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2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38113" y="768350"/>
            <a:ext cx="6824662" cy="38369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7782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238125" y="4822825"/>
            <a:ext cx="6623050" cy="4565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</a:p>
        </p:txBody>
      </p:sp>
      <p:sp>
        <p:nvSpPr>
          <p:cNvPr id="7783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682163"/>
            <a:ext cx="3249613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783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682163"/>
            <a:ext cx="3248025" cy="550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48550" tIns="148550" rIns="148550" bIns="148550" numCol="1" anchor="b" anchorCtr="0" compatLnSpc="1">
            <a:prstTxWarp prst="textNoShape">
              <a:avLst/>
            </a:prstTxWarp>
          </a:bodyPr>
          <a:lstStyle>
            <a:lvl1pPr algn="r" defTabSz="942975">
              <a:spcBef>
                <a:spcPct val="0"/>
              </a:spcBef>
              <a:defRPr sz="1200">
                <a:solidFill>
                  <a:schemeClr val="tx1"/>
                </a:solidFill>
                <a:latin typeface="Siemens Sans" pitchFamily="2" charset="0"/>
              </a:defRPr>
            </a:lvl1pPr>
          </a:lstStyle>
          <a:p>
            <a:r>
              <a:rPr lang="de-DE" dirty="0" smtClean="0">
                <a:latin typeface="Arial" pitchFamily="34" charset="0"/>
              </a:rPr>
              <a:t>Notes </a:t>
            </a:r>
            <a:fld id="{AD141568-5488-4AC9-B82D-9F5CE1225E2A}" type="slidenum">
              <a:rPr lang="de-DE" smtClean="0">
                <a:latin typeface="Arial" pitchFamily="34" charset="0"/>
              </a:rPr>
              <a:pPr/>
              <a:t>‹#›</a:t>
            </a:fld>
            <a:endParaRPr lang="de-DE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387789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9938"/>
            <a:ext cx="6823075" cy="383540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9938"/>
            <a:ext cx="6823075" cy="383540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latin typeface="Arial" pitchFamily="34" charset="0"/>
              </a:rPr>
              <a:t>Notice </a:t>
            </a:r>
            <a:fld id="{AD141568-5488-4AC9-B82D-9F5CE1225E2A}" type="slidenum">
              <a:rPr lang="en-US" smtClean="0">
                <a:latin typeface="Arial" pitchFamily="34" charset="0"/>
              </a:rPr>
              <a:pPr/>
              <a:t>8</a:t>
            </a:fld>
            <a:endParaRPr lang="en-US" dirty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2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39700" y="769938"/>
            <a:ext cx="6823075" cy="3835400"/>
          </a:xfrm>
          <a:noFill/>
        </p:spPr>
      </p:sp>
      <p:sp>
        <p:nvSpPr>
          <p:cNvPr id="18125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733789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customXml" Target="../../customXml/item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customXml" Target="../../customXml/item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customXml" Target="../../customXml/item9.xml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customXml" Target="../../customXml/item7.xml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customXml" Target="../../customXml/item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customXml" Target="../../customXml/item1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0.xml"/><Relationship Id="rId4" Type="http://schemas.openxmlformats.org/officeDocument/2006/relationships/tags" Target="../tags/tag5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customXml" Target="../../customXml/item1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customXml" Target="../../customXml/item13.xml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customXml" Target="../../customXml/item17.xml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customXml" Target="../../customXml/item1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customXml" Target="../../customXml/item1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customXml" Target="../../customXml/item3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76.xml"/><Relationship Id="rId1" Type="http://schemas.openxmlformats.org/officeDocument/2006/relationships/customXml" Target="../../customXml/item14.xml"/><Relationship Id="rId6" Type="http://schemas.openxmlformats.org/officeDocument/2006/relationships/tags" Target="../tags/tag80.xml"/><Relationship Id="rId5" Type="http://schemas.openxmlformats.org/officeDocument/2006/relationships/tags" Target="../tags/tag79.xml"/><Relationship Id="rId4" Type="http://schemas.openxmlformats.org/officeDocument/2006/relationships/tags" Target="../tags/tag78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4" Type="http://schemas.openxmlformats.org/officeDocument/2006/relationships/image" Target="../media/image6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2" Type="http://schemas.openxmlformats.org/officeDocument/2006/relationships/tags" Target="../tags/tag44.xml"/><Relationship Id="rId1" Type="http://schemas.openxmlformats.org/officeDocument/2006/relationships/customXml" Target="../../customXml/item11.xml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customXml" Target="../../customXml/item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58" name="Rechteck 14"/>
          <p:cNvSpPr/>
          <p:nvPr userDrawn="1"/>
        </p:nvSpPr>
        <p:spPr bwMode="auto">
          <a:xfrm>
            <a:off x="3174" y="0"/>
            <a:ext cx="12195176" cy="6858000"/>
          </a:xfrm>
          <a:prstGeom prst="rect">
            <a:avLst/>
          </a:prstGeom>
          <a:gradFill>
            <a:gsLst>
              <a:gs pos="100000">
                <a:schemeClr val="accent2">
                  <a:lumMod val="40000"/>
                  <a:lumOff val="60000"/>
                </a:schemeClr>
              </a:gs>
              <a:gs pos="40000">
                <a:schemeClr val="accent2">
                  <a:lumMod val="20000"/>
                  <a:lumOff val="80000"/>
                </a:schemeClr>
              </a:gs>
              <a:gs pos="41000">
                <a:schemeClr val="accent2">
                  <a:lumMod val="60000"/>
                  <a:lumOff val="40000"/>
                </a:schemeClr>
              </a:gs>
              <a:gs pos="0">
                <a:schemeClr val="accent2">
                  <a:lumMod val="20000"/>
                  <a:lumOff val="80000"/>
                </a:schemeClr>
              </a:gs>
            </a:gsLst>
            <a:lin ang="5400000" scaled="0"/>
          </a:gra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en-US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pic>
        <p:nvPicPr>
          <p:cNvPr id="59" name="Picture 2" descr="C:\Users\fbuser\AppData\Local\Temp\vmware-fbuser\VMwareDnD\eea17e6c\Sensor_1.png"/>
          <p:cNvPicPr>
            <a:picLocks noChangeAspect="1" noChangeArrowheads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716" t="24191" r="23426" b="15760"/>
          <a:stretch/>
        </p:blipFill>
        <p:spPr bwMode="auto">
          <a:xfrm>
            <a:off x="870627" y="1845144"/>
            <a:ext cx="2017354" cy="3239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3" descr="C:\Users\fbuser\AppData\Local\Temp\vmware-fbuser\VMwareDnD\eea17e6c\Sensor_2.png"/>
          <p:cNvPicPr>
            <a:picLocks noChangeAspect="1" noChangeArrowheads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89" t="23118" r="28278" b="20881"/>
          <a:stretch/>
        </p:blipFill>
        <p:spPr bwMode="auto">
          <a:xfrm>
            <a:off x="7107287" y="1772816"/>
            <a:ext cx="2078075" cy="3311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4" descr="C:\Users\fbuser\AppData\Local\Temp\vmware-fbuser\VMwareDnD\eea17e6c\Sensor_3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47" t="15048" r="25622" b="4787"/>
          <a:stretch/>
        </p:blipFill>
        <p:spPr bwMode="auto">
          <a:xfrm>
            <a:off x="3254859" y="1853899"/>
            <a:ext cx="1608853" cy="3230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5" descr="C:\Users\fbuser\AppData\Local\Temp\vmware-fbuser\VMwareDnD\eea17e6c\Sensor_4.png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662" t="5187" r="30862" b="9895"/>
          <a:stretch/>
        </p:blipFill>
        <p:spPr bwMode="auto">
          <a:xfrm>
            <a:off x="5263198" y="908720"/>
            <a:ext cx="1750987" cy="41759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6" descr="C:\Users\fbuser\AppData\Local\Temp\vmware-fbuser\VMwareDnD\eea17e6c\Sensor_5.png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149" t="27398" r="27901" b="8029"/>
          <a:stretch/>
        </p:blipFill>
        <p:spPr bwMode="auto">
          <a:xfrm>
            <a:off x="9633524" y="1520789"/>
            <a:ext cx="1612295" cy="3563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9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0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4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5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3" name="Gruppieren 82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4" name="Gerade Verbindung 83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5" name="Gerade Verbindung 104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6686181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1449308"/>
            <a:ext cx="122040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3314408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800" cy="6858000"/>
          </a:xfrm>
          <a:noFill/>
        </p:spPr>
        <p:txBody>
          <a:bodyPr tIns="1800000"/>
          <a:lstStyle>
            <a:lvl1pPr algn="ctr">
              <a:defRPr/>
            </a:lvl1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31594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Dynamic Petrol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uppieren 6"/>
          <p:cNvGrpSpPr/>
          <p:nvPr userDrawn="1"/>
        </p:nvGrpSpPr>
        <p:grpSpPr>
          <a:xfrm>
            <a:off x="0" y="0"/>
            <a:ext cx="12198350" cy="6861907"/>
            <a:chOff x="0" y="0"/>
            <a:chExt cx="12198350" cy="6861907"/>
          </a:xfrm>
        </p:grpSpPr>
        <p:sp>
          <p:nvSpPr>
            <p:cNvPr id="4" name="Rechteck 3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6" name="Rechteck 5"/>
            <p:cNvSpPr/>
            <p:nvPr userDrawn="1"/>
          </p:nvSpPr>
          <p:spPr bwMode="auto">
            <a:xfrm>
              <a:off x="0" y="0"/>
              <a:ext cx="12198350" cy="6861907"/>
            </a:xfrm>
            <a:prstGeom prst="rect">
              <a:avLst/>
            </a:prstGeom>
            <a:gradFill>
              <a:gsLst>
                <a:gs pos="83000">
                  <a:srgbClr val="0099B0">
                    <a:alpha val="85000"/>
                  </a:srgbClr>
                </a:gs>
                <a:gs pos="50000">
                  <a:srgbClr val="009999">
                    <a:alpha val="85000"/>
                  </a:srgbClr>
                </a:gs>
                <a:gs pos="0">
                  <a:srgbClr val="50BEBE">
                    <a:alpha val="85000"/>
                  </a:srgbClr>
                </a:gs>
                <a:gs pos="100000">
                  <a:srgbClr val="0099CB">
                    <a:alpha val="85000"/>
                  </a:srgbClr>
                </a:gs>
              </a:gsLst>
              <a:lin ang="0" scaled="0"/>
            </a:gra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fr-FR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537660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bleed color area Blu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 bwMode="auto">
          <a:xfrm>
            <a:off x="0" y="0"/>
            <a:ext cx="12198350" cy="6861907"/>
          </a:xfrm>
          <a:prstGeom prst="rect">
            <a:avLst/>
          </a:prstGeom>
          <a:solidFill>
            <a:srgbClr val="50BED7"/>
          </a:solidFill>
          <a:ln>
            <a:noFill/>
          </a:ln>
          <a:effectLst/>
          <a:extLst/>
        </p:spPr>
        <p:txBody>
          <a:bodyPr wrap="square" lIns="108000" tIns="54000" rIns="108000" bIns="54000" numCol="1" spcCol="72000" rtlCol="0" anchor="ctr">
            <a:noAutofit/>
          </a:bodyPr>
          <a:lstStyle/>
          <a:p>
            <a:pPr algn="ctr">
              <a:lnSpc>
                <a:spcPct val="110000"/>
              </a:lnSpc>
              <a:spcBef>
                <a:spcPct val="0"/>
              </a:spcBef>
              <a:buFont typeface="Wingdings" charset="0"/>
              <a:buNone/>
            </a:pPr>
            <a:endParaRPr lang="fr-FR" sz="1800" dirty="0" smtClean="0">
              <a:solidFill>
                <a:schemeClr val="tx1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9799314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" preserve="1" userDrawn="1">
  <p:cSld name="One object (lar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8208962" cy="4752000"/>
          </a:xfrm>
        </p:spPr>
        <p:txBody>
          <a:bodyPr/>
          <a:lstStyle>
            <a:lvl1pPr>
              <a:buFont typeface="Arial" pitchFamily="34" charset="0"/>
              <a:buNone/>
              <a:defRPr/>
            </a:lvl1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custDataLst>
      <p:custData r:id="rId1"/>
    </p:custData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" preserve="1" userDrawn="1">
  <p:cSld name="One object (sma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7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2"/>
            </p:custDataLst>
          </p:nvPr>
        </p:nvSpPr>
        <p:spPr>
          <a:xfrm>
            <a:off x="627063" y="1449308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half" idx="2"/>
            <p:custDataLst>
              <p:tags r:id="rId3"/>
            </p:custDataLst>
          </p:nvPr>
        </p:nvSpPr>
        <p:spPr>
          <a:xfrm>
            <a:off x="6243638" y="1449308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1607085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9308"/>
            <a:ext cx="5472112" cy="4752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44930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97308"/>
            <a:ext cx="5472000" cy="2304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7347655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two images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3" name="cdtContent Placeholder 2 Id3"/>
          <p:cNvSpPr>
            <a:spLocks noGrp="1"/>
          </p:cNvSpPr>
          <p:nvPr>
            <p:ph sz="half" idx="1"/>
            <p:custDataLst>
              <p:tags r:id="rId1"/>
            </p:custDataLst>
          </p:nvPr>
        </p:nvSpPr>
        <p:spPr>
          <a:xfrm>
            <a:off x="627063" y="1449308"/>
            <a:ext cx="5904000" cy="4752000"/>
          </a:xfrm>
          <a:solidFill>
            <a:schemeClr val="accent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vert="horz" wrap="square" lIns="288000" tIns="252000" rIns="576000" bIns="25200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Bildplatzhalter 4"/>
          <p:cNvSpPr>
            <a:spLocks noGrp="1"/>
          </p:cNvSpPr>
          <p:nvPr>
            <p:ph type="pic" sz="quarter" idx="10"/>
          </p:nvPr>
        </p:nvSpPr>
        <p:spPr>
          <a:xfrm>
            <a:off x="6243637" y="1755036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/>
          </a:p>
        </p:txBody>
      </p:sp>
      <p:sp>
        <p:nvSpPr>
          <p:cNvPr id="6" name="Bildplatzhalter 4"/>
          <p:cNvSpPr>
            <a:spLocks noGrp="1"/>
          </p:cNvSpPr>
          <p:nvPr>
            <p:ph type="pic" sz="quarter" idx="11"/>
          </p:nvPr>
        </p:nvSpPr>
        <p:spPr>
          <a:xfrm>
            <a:off x="6243637" y="3897052"/>
            <a:ext cx="5472000" cy="1998000"/>
          </a:xfrm>
        </p:spPr>
        <p:txBody>
          <a:bodyPr tIns="648000"/>
          <a:lstStyle>
            <a:lvl1pPr algn="ctr">
              <a:defRPr/>
            </a:lvl1pPr>
          </a:lstStyle>
          <a:p>
            <a:endParaRPr lang="fr-FR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883715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" preserve="1" userDrawn="1">
  <p:cSld name="Two row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97308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462181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8" name="Textplatzhalter 57343"/>
          <p:cNvSpPr>
            <a:spLocks noGrp="1"/>
          </p:cNvSpPr>
          <p:nvPr>
            <p:ph type="body" sz="quarter" idx="12" hasCustomPrompt="1"/>
          </p:nvPr>
        </p:nvSpPr>
        <p:spPr>
          <a:xfrm>
            <a:off x="627063" y="5907600"/>
            <a:ext cx="6480000" cy="324000"/>
          </a:xfrm>
          <a:solidFill>
            <a:schemeClr val="bg1">
              <a:alpha val="85000"/>
            </a:schemeClr>
          </a:solidFill>
        </p:spPr>
        <p:txBody>
          <a:bodyPr lIns="216000" tIns="90000" rIns="216000" bIns="46800"/>
          <a:lstStyle>
            <a:lvl1pPr algn="r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URL</a:t>
            </a:r>
          </a:p>
        </p:txBody>
      </p:sp>
      <p:sp>
        <p:nvSpPr>
          <p:cNvPr id="11" name="Textplatzhalter 57343"/>
          <p:cNvSpPr>
            <a:spLocks noGrp="1"/>
          </p:cNvSpPr>
          <p:nvPr>
            <p:ph type="body" sz="quarter" idx="13" hasCustomPrompt="1"/>
          </p:nvPr>
        </p:nvSpPr>
        <p:spPr>
          <a:xfrm>
            <a:off x="627063" y="5907600"/>
            <a:ext cx="2340000" cy="324000"/>
          </a:xfrm>
        </p:spPr>
        <p:txBody>
          <a:bodyPr lIns="216000" tIns="90000" rIns="0" bIns="46800"/>
          <a:lstStyle>
            <a:lvl1pPr algn="l">
              <a:lnSpc>
                <a:spcPct val="100000"/>
              </a:lnSpc>
              <a:defRPr sz="1000" b="1"/>
            </a:lvl1pPr>
            <a:lvl2pPr marL="1588" indent="0">
              <a:buNone/>
              <a:defRPr/>
            </a:lvl2pPr>
          </a:lstStyle>
          <a:p>
            <a:pPr lvl="0"/>
            <a:r>
              <a:rPr lang="de-DE" dirty="0" err="1" smtClean="0"/>
              <a:t>Please</a:t>
            </a:r>
            <a:r>
              <a:rPr lang="de-DE" dirty="0" smtClean="0"/>
              <a:t> </a:t>
            </a:r>
            <a:r>
              <a:rPr lang="de-DE" dirty="0" err="1" smtClean="0"/>
              <a:t>insert</a:t>
            </a:r>
            <a:r>
              <a:rPr lang="de-DE" dirty="0" smtClean="0"/>
              <a:t> </a:t>
            </a:r>
            <a:r>
              <a:rPr lang="de-DE" dirty="0" err="1" smtClean="0"/>
              <a:t>confidentiality</a:t>
            </a:r>
            <a:r>
              <a:rPr lang="de-DE" dirty="0" smtClean="0"/>
              <a:t> </a:t>
            </a:r>
            <a:r>
              <a:rPr lang="de-DE" dirty="0" err="1" smtClean="0"/>
              <a:t>note</a:t>
            </a:r>
            <a:endParaRPr lang="de-DE" dirty="0" smtClean="0"/>
          </a:p>
        </p:txBody>
      </p:sp>
      <p:grpSp>
        <p:nvGrpSpPr>
          <p:cNvPr id="33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0641734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" preserve="1" userDrawn="1">
  <p:cSld name="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360045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370388" y="1449308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8115750" y="1449308"/>
            <a:ext cx="3600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" preserve="1" userDrawn="1">
  <p:cSld name="Four obje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sz="quarter" idx="1"/>
            <p:custDataLst>
              <p:tags r:id="rId2"/>
            </p:custDataLst>
          </p:nvPr>
        </p:nvSpPr>
        <p:spPr>
          <a:xfrm>
            <a:off x="627063" y="1449308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4" name="cdtContent Placeholder 3 Id4"/>
          <p:cNvSpPr>
            <a:spLocks noGrp="1"/>
          </p:cNvSpPr>
          <p:nvPr>
            <p:ph sz="quarter" idx="2"/>
            <p:custDataLst>
              <p:tags r:id="rId3"/>
            </p:custDataLst>
          </p:nvPr>
        </p:nvSpPr>
        <p:spPr>
          <a:xfrm>
            <a:off x="6243638" y="1449308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Content Placeholder 4 Id5"/>
          <p:cNvSpPr>
            <a:spLocks noGrp="1"/>
          </p:cNvSpPr>
          <p:nvPr>
            <p:ph sz="quarter" idx="3"/>
            <p:custDataLst>
              <p:tags r:id="rId4"/>
            </p:custDataLst>
          </p:nvPr>
        </p:nvSpPr>
        <p:spPr>
          <a:xfrm>
            <a:off x="627063" y="3897308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Content Placeholder 5 Id6"/>
          <p:cNvSpPr>
            <a:spLocks noGrp="1"/>
          </p:cNvSpPr>
          <p:nvPr>
            <p:ph sz="quarter" idx="4"/>
            <p:custDataLst>
              <p:tags r:id="rId5"/>
            </p:custDataLst>
          </p:nvPr>
        </p:nvSpPr>
        <p:spPr>
          <a:xfrm>
            <a:off x="6243638" y="3897308"/>
            <a:ext cx="5472112" cy="23040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 lang="de-DE"/>
            </a:lvl1pPr>
            <a:lvl2pPr marL="179388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2pPr>
            <a:lvl3pPr marL="358775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3pPr>
            <a:lvl4pPr marL="538163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 smtClean="0"/>
            </a:lvl4pPr>
            <a:lvl5pPr marL="717550" marR="0" indent="-17780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Tx/>
              <a:buChar char="•"/>
              <a:tabLst/>
              <a:defRPr lang="de-DE"/>
            </a:lvl5pPr>
          </a:lstStyle>
          <a:p>
            <a:pPr marL="0" marR="0" lvl="0" indent="0" algn="l" defTabSz="914400" rtl="0" eaLnBrk="1" fontAlgn="base" latinLnBrk="0" hangingPunct="1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buClr>
                <a:srgbClr val="879BAA"/>
              </a:buClr>
              <a:buSzTx/>
              <a:buFont typeface="Arial" pitchFamily="34" charset="0"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xtmasterformat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bearbeiten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grpSp>
        <p:nvGrpSpPr>
          <p:cNvPr id="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25576722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 + Navigation" preserve="1" userDrawn="1">
  <p:cSld name="Free Content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2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large) + Navigation" preserve="1" userDrawn="1">
  <p:cSld name="One object (large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8208962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3 Id5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object (small) + Navigation" preserve="1" userDrawn="1">
  <p:cSld name="One object (small)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6768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 + Navigation" preserve="1" userDrawn="1">
  <p:cSld name="Two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5" y="1449308"/>
            <a:ext cx="403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+ Navigation" preserve="1" userDrawn="1">
  <p:cSld name="Three column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2592000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3362400" y="1449308"/>
            <a:ext cx="2736775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43638" y="1449308"/>
            <a:ext cx="2592387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7" name="cdtTextplatzhalter 13 Id7"/>
          <p:cNvSpPr>
            <a:spLocks noGrp="1"/>
          </p:cNvSpPr>
          <p:nvPr>
            <p:ph type="body" sz="quarter" idx="15" hasCustomPrompt="1"/>
            <p:custDataLst>
              <p:tags r:id="rId5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rows + Navigation" preserve="1" userDrawn="1">
  <p:cSld name="Two row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627063" y="3897308"/>
            <a:ext cx="8208962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6" name="cdtTextplatzhalter 13 Id6"/>
          <p:cNvSpPr>
            <a:spLocks noGrp="1"/>
          </p:cNvSpPr>
          <p:nvPr>
            <p:ph type="body" sz="quarter" idx="14" hasCustomPrompt="1"/>
            <p:custDataLst>
              <p:tags r:id="rId4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objects + Navigation" preserve="1" userDrawn="1">
  <p:cSld name="Four objects + Navig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Content Placeholder 2 Id3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627063" y="144930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3" name="cdtContent Placeholder 12 Id13"/>
          <p:cNvSpPr>
            <a:spLocks noGrp="1"/>
          </p:cNvSpPr>
          <p:nvPr>
            <p:ph sz="quarter" idx="13"/>
            <p:custDataLst>
              <p:tags r:id="rId3"/>
            </p:custDataLst>
          </p:nvPr>
        </p:nvSpPr>
        <p:spPr>
          <a:xfrm>
            <a:off x="4804024" y="144930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2" name="cdtContent Placeholder 11 Id12"/>
          <p:cNvSpPr>
            <a:spLocks noGrp="1"/>
          </p:cNvSpPr>
          <p:nvPr>
            <p:ph sz="quarter" idx="14"/>
            <p:custDataLst>
              <p:tags r:id="rId4"/>
            </p:custDataLst>
          </p:nvPr>
        </p:nvSpPr>
        <p:spPr>
          <a:xfrm>
            <a:off x="627063" y="389730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5" name="cdtContent Placeholder 14 Id15"/>
          <p:cNvSpPr>
            <a:spLocks noGrp="1"/>
          </p:cNvSpPr>
          <p:nvPr>
            <p:ph sz="quarter" idx="15"/>
            <p:custDataLst>
              <p:tags r:id="rId5"/>
            </p:custDataLst>
          </p:nvPr>
        </p:nvSpPr>
        <p:spPr>
          <a:xfrm>
            <a:off x="4804025" y="3897308"/>
            <a:ext cx="4032000" cy="2304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10" name="cdtTextplatzhalter 13 Id10"/>
          <p:cNvSpPr>
            <a:spLocks noGrp="1"/>
          </p:cNvSpPr>
          <p:nvPr>
            <p:ph type="body" sz="quarter" idx="16" hasCustomPrompt="1"/>
            <p:custDataLst>
              <p:tags r:id="rId6"/>
            </p:custDataLst>
          </p:nvPr>
        </p:nvSpPr>
        <p:spPr>
          <a:xfrm>
            <a:off x="10419751" y="1449308"/>
            <a:ext cx="1295999" cy="4752000"/>
          </a:xfrm>
        </p:spPr>
        <p:txBody>
          <a:bodyPr/>
          <a:lstStyle>
            <a:lvl1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SzPct val="70000"/>
              <a:buFont typeface="Arial" pitchFamily="34" charset="0"/>
              <a:buChar char="►"/>
              <a:defRPr sz="1200">
                <a:solidFill>
                  <a:srgbClr val="879BAA"/>
                </a:solidFill>
              </a:defRPr>
            </a:lvl1pPr>
            <a:lvl2pPr marL="144000" indent="-144000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Pct val="70000"/>
              <a:buFont typeface="Arial" pitchFamily="34" charset="0"/>
              <a:buChar char="►"/>
              <a:defRPr sz="1200">
                <a:solidFill>
                  <a:srgbClr val="641946"/>
                </a:solidFill>
              </a:defRPr>
            </a:lvl2pPr>
            <a:lvl3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rgbClr val="879BAA"/>
                </a:solidFill>
              </a:defRPr>
            </a:lvl3pPr>
            <a:lvl4pPr marL="288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rgbClr val="641946"/>
                </a:solidFill>
              </a:defRPr>
            </a:lvl4pPr>
            <a:lvl5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SzPct val="70000"/>
              <a:buFont typeface="Arial" pitchFamily="34" charset="0"/>
              <a:buChar char="►"/>
              <a:defRPr sz="1000">
                <a:solidFill>
                  <a:schemeClr val="accent1"/>
                </a:solidFill>
              </a:defRPr>
            </a:lvl5pPr>
            <a:lvl6pPr marL="432000" indent="-14400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70000"/>
              <a:buFont typeface="Arial" pitchFamily="34" charset="0"/>
              <a:buChar char="►"/>
              <a:defRPr sz="1000">
                <a:solidFill>
                  <a:schemeClr val="accent4"/>
                </a:solidFill>
              </a:defRPr>
            </a:lvl6pPr>
          </a:lstStyle>
          <a:p>
            <a:pPr lvl="0"/>
            <a:r>
              <a:rPr lang="en-US" noProof="0" dirty="0" smtClean="0"/>
              <a:t>Click to edit the navigation text</a:t>
            </a:r>
          </a:p>
          <a:p>
            <a:pPr lvl="1"/>
            <a:r>
              <a:rPr lang="en-US" noProof="0" dirty="0" smtClean="0"/>
              <a:t>active chapter</a:t>
            </a:r>
          </a:p>
          <a:p>
            <a:pPr lvl="2"/>
            <a:r>
              <a:rPr lang="en-US" noProof="0" dirty="0" smtClean="0"/>
              <a:t>subchapter</a:t>
            </a:r>
          </a:p>
          <a:p>
            <a:pPr lvl="3"/>
            <a:r>
              <a:rPr lang="en-US" noProof="0" dirty="0" smtClean="0"/>
              <a:t>active subchapter</a:t>
            </a:r>
          </a:p>
          <a:p>
            <a:pPr lvl="4"/>
            <a:r>
              <a:rPr lang="en-US" noProof="0" dirty="0" smtClean="0"/>
              <a:t>subchapter</a:t>
            </a:r>
          </a:p>
          <a:p>
            <a:pPr lvl="5"/>
            <a:r>
              <a:rPr lang="en-US" noProof="0" dirty="0" smtClean="0"/>
              <a:t>active subchapter</a:t>
            </a:r>
            <a:endParaRPr lang="en-US" dirty="0"/>
          </a:p>
        </p:txBody>
      </p:sp>
      <p:grpSp>
        <p:nvGrpSpPr>
          <p:cNvPr id="11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1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9308"/>
            <a:ext cx="7539354" cy="4752000"/>
          </a:xfrm>
          <a:solidFill>
            <a:schemeClr val="accent2">
              <a:lumMod val="40000"/>
              <a:lumOff val="60000"/>
            </a:schemeClr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9308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790332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35" b="535"/>
          <a:stretch/>
        </p:blipFill>
        <p:spPr>
          <a:xfrm>
            <a:off x="0" y="0"/>
            <a:ext cx="12196800" cy="6857128"/>
          </a:xfrm>
          <a:prstGeom prst="rect">
            <a:avLst/>
          </a:prstGeom>
        </p:spPr>
      </p:pic>
      <p:sp>
        <p:nvSpPr>
          <p:cNvPr id="4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286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5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30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4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6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1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2" name="Gruppieren 81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3" name="Gerade Verbindung 82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4" name="Gerade Verbindung 103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9053753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color fill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dtRectangle 115 Id57350"/>
          <p:cNvSpPr>
            <a:spLocks noGrp="1" noChangeArrowheads="1"/>
          </p:cNvSpPr>
          <p:nvPr>
            <p:ph type="ctrTitle"/>
            <p:custDataLst>
              <p:tags r:id="rId1"/>
            </p:custDataLst>
          </p:nvPr>
        </p:nvSpPr>
        <p:spPr bwMode="ltGray">
          <a:xfrm>
            <a:off x="627063" y="3891600"/>
            <a:ext cx="6480000" cy="2340314"/>
          </a:xfr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grpSp>
        <p:nvGrpSpPr>
          <p:cNvPr id="29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0" name="Gruppieren 79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1" name="Gerade Verbindung 80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308043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Dynamic Petrol">
    <p:bg>
      <p:bgPr>
        <a:gradFill>
          <a:gsLst>
            <a:gs pos="83000">
              <a:srgbClr val="0099B0">
                <a:alpha val="85000"/>
              </a:srgbClr>
            </a:gs>
            <a:gs pos="50000">
              <a:srgbClr val="009999">
                <a:alpha val="85000"/>
              </a:srgbClr>
            </a:gs>
            <a:gs pos="0">
              <a:srgbClr val="50BEBE">
                <a:alpha val="85000"/>
              </a:srgbClr>
            </a:gs>
            <a:gs pos="100000">
              <a:srgbClr val="0099CB">
                <a:alpha val="85000"/>
              </a:srgbClr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30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3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983307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 Blue light">
    <p:bg>
      <p:bgPr>
        <a:solidFill>
          <a:srgbClr val="50BED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dtText Box 101 Id11"/>
          <p:cNvSpPr txBox="1"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6099175" y="0"/>
            <a:ext cx="1588" cy="1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9900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36000" rIns="0" bIns="0">
            <a:noAutofit/>
          </a:bodyPr>
          <a:lstStyle/>
          <a:p>
            <a:pPr algn="ctr">
              <a:buClrTx/>
              <a:buFontTx/>
              <a:buNone/>
            </a:pPr>
            <a:endParaRPr lang="en-US" sz="1100" b="1" dirty="0">
              <a:solidFill>
                <a:srgbClr val="990000"/>
              </a:solidFill>
            </a:endParaRPr>
          </a:p>
        </p:txBody>
      </p:sp>
      <p:sp>
        <p:nvSpPr>
          <p:cNvPr id="34" name="cdtRectangle 115 Id57350"/>
          <p:cNvSpPr>
            <a:spLocks noGrp="1" noChangeArrowheads="1"/>
          </p:cNvSpPr>
          <p:nvPr>
            <p:ph type="ctrTitle"/>
            <p:custDataLst>
              <p:tags r:id="rId2"/>
            </p:custDataLst>
          </p:nvPr>
        </p:nvSpPr>
        <p:spPr bwMode="ltGray">
          <a:xfrm>
            <a:off x="627063" y="3891600"/>
            <a:ext cx="6480000" cy="2340314"/>
          </a:xfrm>
          <a:noFill/>
        </p:spPr>
        <p:txBody>
          <a:bodyPr wrap="square" lIns="216000" tIns="90000" rIns="216000" bIns="216000" anchor="b" anchorCtr="0">
            <a:spAutoFit/>
          </a:bodyPr>
          <a:lstStyle>
            <a:lvl1pPr>
              <a:defRPr sz="4400" smtClean="0">
                <a:solidFill>
                  <a:srgbClr val="FFFFFF"/>
                </a:solidFill>
                <a:latin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grpSp>
        <p:nvGrpSpPr>
          <p:cNvPr id="28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30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6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7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8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9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0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1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2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3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4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5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6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7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8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49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0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1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2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3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4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55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7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8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9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0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grpSp>
        <p:nvGrpSpPr>
          <p:cNvPr id="81" name="Gruppieren 80"/>
          <p:cNvGrpSpPr/>
          <p:nvPr userDrawn="1"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82" name="Gerade Verbindung 81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0" name="Gerade Verbindung 89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2" name="Gerade Verbindung 91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4" name="Gerade Verbindung 93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5" name="Gerade Verbindung 94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6" name="Gerade Verbindung 95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7" name="Gerade Verbindung 96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8" name="Gerade Verbindung 97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9" name="Gerade Verbindung 98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0" name="Gerade Verbindung 99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1" name="Gerade Verbindung 100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2" name="Gerade Verbindung 101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03" name="Gerade Verbindung 102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36554810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fr-FR" dirty="0"/>
          </a:p>
        </p:txBody>
      </p:sp>
      <p:sp>
        <p:nvSpPr>
          <p:cNvPr id="4" name="cdtText Placeholder 12 Id13"/>
          <p:cNvSpPr>
            <a:spLocks noGrp="1"/>
          </p:cNvSpPr>
          <p:nvPr>
            <p:ph type="body" sz="quarter" idx="14" hasCustomPrompt="1"/>
            <p:custDataLst>
              <p:tags r:id="rId1"/>
            </p:custDataLst>
          </p:nvPr>
        </p:nvSpPr>
        <p:spPr bwMode="auto">
          <a:xfrm>
            <a:off x="4658996" y="1449308"/>
            <a:ext cx="7539354" cy="4752000"/>
          </a:xfrm>
          <a:solidFill>
            <a:schemeClr val="accent2">
              <a:lumMod val="40000"/>
              <a:lumOff val="60000"/>
            </a:schemeClr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5"/>
          </p:nvPr>
        </p:nvSpPr>
        <p:spPr>
          <a:xfrm>
            <a:off x="0" y="1449308"/>
            <a:ext cx="4514400" cy="4752000"/>
          </a:xfrm>
        </p:spPr>
        <p:txBody>
          <a:bodyPr tIns="1800000"/>
          <a:lstStyle>
            <a:lvl1pPr algn="ctr">
              <a:defRPr/>
            </a:lvl1pPr>
          </a:lstStyle>
          <a:p>
            <a:endParaRPr lang="fr-FR"/>
          </a:p>
        </p:txBody>
      </p:sp>
      <p:grpSp>
        <p:nvGrpSpPr>
          <p:cNvPr id="7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9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</p:spTree>
    <p:extLst>
      <p:ext uri="{BB962C8B-B14F-4D97-AF65-F5344CB8AC3E}">
        <p14:creationId xmlns:p14="http://schemas.microsoft.com/office/powerpoint/2010/main" val="1502154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xt + Index" preserve="1" userDrawn="1">
  <p:cSld name="Text + Inde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dtText Placeholder 12 Id13"/>
          <p:cNvSpPr>
            <a:spLocks noGrp="1"/>
          </p:cNvSpPr>
          <p:nvPr>
            <p:ph type="body" sz="quarter" idx="13"/>
            <p:custDataLst>
              <p:tags r:id="rId2"/>
            </p:custDataLst>
          </p:nvPr>
        </p:nvSpPr>
        <p:spPr>
          <a:xfrm>
            <a:off x="627063" y="1449308"/>
            <a:ext cx="3887914" cy="4752000"/>
          </a:xfrm>
        </p:spPr>
        <p:txBody>
          <a:bodyPr/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sp>
        <p:nvSpPr>
          <p:cNvPr id="5" name="cdtTextplatzhalter 12 Id5"/>
          <p:cNvSpPr>
            <a:spLocks noGrp="1"/>
          </p:cNvSpPr>
          <p:nvPr>
            <p:ph type="body" sz="quarter" idx="14" hasCustomPrompt="1"/>
            <p:custDataLst>
              <p:tags r:id="rId3"/>
            </p:custDataLst>
          </p:nvPr>
        </p:nvSpPr>
        <p:spPr bwMode="auto">
          <a:xfrm>
            <a:off x="4658995" y="1449308"/>
            <a:ext cx="7539355" cy="4752000"/>
          </a:xfrm>
          <a:solidFill>
            <a:schemeClr val="accent2">
              <a:lumMod val="40000"/>
              <a:lumOff val="60000"/>
            </a:schemeClr>
          </a:solidFill>
        </p:spPr>
        <p:txBody>
          <a:bodyPr lIns="252000" tIns="144000" rIns="482400" bIns="144000"/>
          <a:lstStyle>
            <a:lvl1pPr marL="0" indent="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Clr>
                <a:schemeClr val="bg2"/>
              </a:buClr>
              <a:buFont typeface="Arial" pitchFamily="34" charset="0"/>
              <a:buNone/>
              <a:tabLst>
                <a:tab pos="5359400" algn="r"/>
              </a:tabLst>
              <a:defRPr>
                <a:solidFill>
                  <a:srgbClr val="000000"/>
                </a:solidFill>
              </a:defRPr>
            </a:lvl1pPr>
            <a:lvl2pPr marL="177800" indent="-176213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2pPr>
            <a:lvl3pPr marL="177800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>
                <a:solidFill>
                  <a:srgbClr val="000000"/>
                </a:solidFill>
              </a:defRPr>
            </a:lvl3pPr>
            <a:lvl4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0">
                <a:solidFill>
                  <a:srgbClr val="000000"/>
                </a:solidFill>
              </a:defRPr>
            </a:lvl4pPr>
            <a:lvl5pPr marL="357188" indent="-177800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 baseline="0">
                <a:solidFill>
                  <a:srgbClr val="000000"/>
                </a:solidFill>
              </a:defRPr>
            </a:lvl5pPr>
            <a:lvl6pPr marL="360363" indent="-180975">
              <a:lnSpc>
                <a:spcPct val="100000"/>
              </a:lnSpc>
              <a:spcBef>
                <a:spcPts val="500"/>
              </a:spcBef>
              <a:spcAft>
                <a:spcPts val="500"/>
              </a:spcAft>
              <a:buFont typeface="Arial" pitchFamily="34" charset="0"/>
              <a:buChar char="•"/>
              <a:tabLst>
                <a:tab pos="5359400" algn="r"/>
              </a:tabLst>
              <a:defRPr b="1"/>
            </a:lvl6pPr>
          </a:lstStyle>
          <a:p>
            <a:pPr lvl="0"/>
            <a:r>
              <a:rPr lang="en-US" dirty="0" smtClean="0"/>
              <a:t>Click to edit the </a:t>
            </a:r>
            <a:r>
              <a:rPr lang="en-US" dirty="0" err="1" smtClean="0"/>
              <a:t>toc</a:t>
            </a:r>
            <a:r>
              <a:rPr lang="en-US" dirty="0" smtClean="0"/>
              <a:t> / contact</a:t>
            </a:r>
          </a:p>
          <a:p>
            <a:pPr lvl="1"/>
            <a:r>
              <a:rPr lang="en-US" dirty="0" smtClean="0"/>
              <a:t>chapter</a:t>
            </a:r>
          </a:p>
          <a:p>
            <a:pPr lvl="2"/>
            <a:r>
              <a:rPr lang="en-US" dirty="0" smtClean="0"/>
              <a:t>active chapter</a:t>
            </a:r>
          </a:p>
          <a:p>
            <a:pPr lvl="3"/>
            <a:r>
              <a:rPr lang="en-US" dirty="0" smtClean="0"/>
              <a:t>subchapter</a:t>
            </a:r>
          </a:p>
          <a:p>
            <a:pPr lvl="4"/>
            <a:r>
              <a:rPr lang="en-US" dirty="0" smtClean="0"/>
              <a:t>active subchapter</a:t>
            </a:r>
            <a:endParaRPr lang="en-US" dirty="0"/>
          </a:p>
        </p:txBody>
      </p:sp>
      <p:grpSp>
        <p:nvGrpSpPr>
          <p:cNvPr id="6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8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3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4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5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ree Content" preserve="1" userDrawn="1">
  <p:cSld name="F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33"/>
          <p:cNvGrpSpPr>
            <a:grpSpLocks noChangeAspect="1"/>
          </p:cNvGrpSpPr>
          <p:nvPr userDrawn="1"/>
        </p:nvGrpSpPr>
        <p:grpSpPr bwMode="auto">
          <a:xfrm>
            <a:off x="9555163" y="323850"/>
            <a:ext cx="2159000" cy="914400"/>
            <a:chOff x="6019" y="204"/>
            <a:chExt cx="1360" cy="576"/>
          </a:xfrm>
        </p:grpSpPr>
        <p:sp>
          <p:nvSpPr>
            <p:cNvPr id="6" name="AutoShape 32"/>
            <p:cNvSpPr>
              <a:spLocks noChangeAspect="1" noChangeArrowheads="1" noTextEdit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7" name="Rectangle 34"/>
            <p:cNvSpPr>
              <a:spLocks noChangeArrowheads="1"/>
            </p:cNvSpPr>
            <p:nvPr userDrawn="1"/>
          </p:nvSpPr>
          <p:spPr bwMode="auto">
            <a:xfrm>
              <a:off x="6019" y="204"/>
              <a:ext cx="1360" cy="576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8" name="Freeform 35"/>
            <p:cNvSpPr>
              <a:spLocks/>
            </p:cNvSpPr>
            <p:nvPr userDrawn="1"/>
          </p:nvSpPr>
          <p:spPr bwMode="auto">
            <a:xfrm>
              <a:off x="6765" y="562"/>
              <a:ext cx="98" cy="156"/>
            </a:xfrm>
            <a:custGeom>
              <a:avLst/>
              <a:gdLst>
                <a:gd name="T0" fmla="*/ 705 w 1179"/>
                <a:gd name="T1" fmla="*/ 998 h 1866"/>
                <a:gd name="T2" fmla="*/ 588 w 1179"/>
                <a:gd name="T3" fmla="*/ 1280 h 1866"/>
                <a:gd name="T4" fmla="*/ 458 w 1179"/>
                <a:gd name="T5" fmla="*/ 1547 h 1866"/>
                <a:gd name="T6" fmla="*/ 277 w 1179"/>
                <a:gd name="T7" fmla="*/ 1824 h 1866"/>
                <a:gd name="T8" fmla="*/ 270 w 1179"/>
                <a:gd name="T9" fmla="*/ 1854 h 1866"/>
                <a:gd name="T10" fmla="*/ 295 w 1179"/>
                <a:gd name="T11" fmla="*/ 1866 h 1866"/>
                <a:gd name="T12" fmla="*/ 363 w 1179"/>
                <a:gd name="T13" fmla="*/ 1834 h 1866"/>
                <a:gd name="T14" fmla="*/ 442 w 1179"/>
                <a:gd name="T15" fmla="*/ 1757 h 1866"/>
                <a:gd name="T16" fmla="*/ 627 w 1179"/>
                <a:gd name="T17" fmla="*/ 1494 h 1866"/>
                <a:gd name="T18" fmla="*/ 832 w 1179"/>
                <a:gd name="T19" fmla="*/ 1110 h 1866"/>
                <a:gd name="T20" fmla="*/ 972 w 1179"/>
                <a:gd name="T21" fmla="*/ 852 h 1866"/>
                <a:gd name="T22" fmla="*/ 1080 w 1179"/>
                <a:gd name="T23" fmla="*/ 704 h 1866"/>
                <a:gd name="T24" fmla="*/ 1172 w 1179"/>
                <a:gd name="T25" fmla="*/ 601 h 1866"/>
                <a:gd name="T26" fmla="*/ 1178 w 1179"/>
                <a:gd name="T27" fmla="*/ 575 h 1866"/>
                <a:gd name="T28" fmla="*/ 1137 w 1179"/>
                <a:gd name="T29" fmla="*/ 537 h 1866"/>
                <a:gd name="T30" fmla="*/ 1056 w 1179"/>
                <a:gd name="T31" fmla="*/ 517 h 1866"/>
                <a:gd name="T32" fmla="*/ 1012 w 1179"/>
                <a:gd name="T33" fmla="*/ 528 h 1866"/>
                <a:gd name="T34" fmla="*/ 948 w 1179"/>
                <a:gd name="T35" fmla="*/ 593 h 1866"/>
                <a:gd name="T36" fmla="*/ 778 w 1179"/>
                <a:gd name="T37" fmla="*/ 756 h 1866"/>
                <a:gd name="T38" fmla="*/ 713 w 1179"/>
                <a:gd name="T39" fmla="*/ 790 h 1866"/>
                <a:gd name="T40" fmla="*/ 676 w 1179"/>
                <a:gd name="T41" fmla="*/ 779 h 1866"/>
                <a:gd name="T42" fmla="*/ 653 w 1179"/>
                <a:gd name="T43" fmla="*/ 730 h 1866"/>
                <a:gd name="T44" fmla="*/ 655 w 1179"/>
                <a:gd name="T45" fmla="*/ 622 h 1866"/>
                <a:gd name="T46" fmla="*/ 650 w 1179"/>
                <a:gd name="T47" fmla="*/ 579 h 1866"/>
                <a:gd name="T48" fmla="*/ 622 w 1179"/>
                <a:gd name="T49" fmla="*/ 552 h 1866"/>
                <a:gd name="T50" fmla="*/ 493 w 1179"/>
                <a:gd name="T51" fmla="*/ 530 h 1866"/>
                <a:gd name="T52" fmla="*/ 272 w 1179"/>
                <a:gd name="T53" fmla="*/ 517 h 1866"/>
                <a:gd name="T54" fmla="*/ 340 w 1179"/>
                <a:gd name="T55" fmla="*/ 248 h 1866"/>
                <a:gd name="T56" fmla="*/ 393 w 1179"/>
                <a:gd name="T57" fmla="*/ 122 h 1866"/>
                <a:gd name="T58" fmla="*/ 426 w 1179"/>
                <a:gd name="T59" fmla="*/ 45 h 1866"/>
                <a:gd name="T60" fmla="*/ 397 w 1179"/>
                <a:gd name="T61" fmla="*/ 16 h 1866"/>
                <a:gd name="T62" fmla="*/ 333 w 1179"/>
                <a:gd name="T63" fmla="*/ 0 h 1866"/>
                <a:gd name="T64" fmla="*/ 279 w 1179"/>
                <a:gd name="T65" fmla="*/ 11 h 1866"/>
                <a:gd name="T66" fmla="*/ 240 w 1179"/>
                <a:gd name="T67" fmla="*/ 61 h 1866"/>
                <a:gd name="T68" fmla="*/ 150 w 1179"/>
                <a:gd name="T69" fmla="*/ 340 h 1866"/>
                <a:gd name="T70" fmla="*/ 89 w 1179"/>
                <a:gd name="T71" fmla="*/ 509 h 1866"/>
                <a:gd name="T72" fmla="*/ 11 w 1179"/>
                <a:gd name="T73" fmla="*/ 514 h 1866"/>
                <a:gd name="T74" fmla="*/ 0 w 1179"/>
                <a:gd name="T75" fmla="*/ 531 h 1866"/>
                <a:gd name="T76" fmla="*/ 25 w 1179"/>
                <a:gd name="T77" fmla="*/ 588 h 1866"/>
                <a:gd name="T78" fmla="*/ 69 w 1179"/>
                <a:gd name="T79" fmla="*/ 627 h 1866"/>
                <a:gd name="T80" fmla="*/ 100 w 1179"/>
                <a:gd name="T81" fmla="*/ 669 h 1866"/>
                <a:gd name="T82" fmla="*/ 102 w 1179"/>
                <a:gd name="T83" fmla="*/ 825 h 1866"/>
                <a:gd name="T84" fmla="*/ 141 w 1179"/>
                <a:gd name="T85" fmla="*/ 948 h 1866"/>
                <a:gd name="T86" fmla="*/ 220 w 1179"/>
                <a:gd name="T87" fmla="*/ 1011 h 1866"/>
                <a:gd name="T88" fmla="*/ 273 w 1179"/>
                <a:gd name="T89" fmla="*/ 1012 h 1866"/>
                <a:gd name="T90" fmla="*/ 282 w 1179"/>
                <a:gd name="T91" fmla="*/ 989 h 1866"/>
                <a:gd name="T92" fmla="*/ 251 w 1179"/>
                <a:gd name="T93" fmla="*/ 888 h 1866"/>
                <a:gd name="T94" fmla="*/ 244 w 1179"/>
                <a:gd name="T95" fmla="*/ 748 h 1866"/>
                <a:gd name="T96" fmla="*/ 282 w 1179"/>
                <a:gd name="T97" fmla="*/ 625 h 1866"/>
                <a:gd name="T98" fmla="*/ 428 w 1179"/>
                <a:gd name="T99" fmla="*/ 608 h 1866"/>
                <a:gd name="T100" fmla="*/ 477 w 1179"/>
                <a:gd name="T101" fmla="*/ 617 h 1866"/>
                <a:gd name="T102" fmla="*/ 483 w 1179"/>
                <a:gd name="T103" fmla="*/ 645 h 1866"/>
                <a:gd name="T104" fmla="*/ 495 w 1179"/>
                <a:gd name="T105" fmla="*/ 741 h 1866"/>
                <a:gd name="T106" fmla="*/ 539 w 1179"/>
                <a:gd name="T107" fmla="*/ 816 h 1866"/>
                <a:gd name="T108" fmla="*/ 600 w 1179"/>
                <a:gd name="T109" fmla="*/ 858 h 1866"/>
                <a:gd name="T110" fmla="*/ 682 w 1179"/>
                <a:gd name="T111" fmla="*/ 882 h 18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79" h="1866">
                  <a:moveTo>
                    <a:pt x="756" y="885"/>
                  </a:moveTo>
                  <a:lnTo>
                    <a:pt x="752" y="893"/>
                  </a:lnTo>
                  <a:lnTo>
                    <a:pt x="741" y="919"/>
                  </a:lnTo>
                  <a:lnTo>
                    <a:pt x="729" y="944"/>
                  </a:lnTo>
                  <a:lnTo>
                    <a:pt x="718" y="971"/>
                  </a:lnTo>
                  <a:lnTo>
                    <a:pt x="705" y="998"/>
                  </a:lnTo>
                  <a:lnTo>
                    <a:pt x="694" y="1026"/>
                  </a:lnTo>
                  <a:lnTo>
                    <a:pt x="682" y="1054"/>
                  </a:lnTo>
                  <a:lnTo>
                    <a:pt x="671" y="1083"/>
                  </a:lnTo>
                  <a:lnTo>
                    <a:pt x="659" y="1112"/>
                  </a:lnTo>
                  <a:lnTo>
                    <a:pt x="624" y="1194"/>
                  </a:lnTo>
                  <a:lnTo>
                    <a:pt x="588" y="1280"/>
                  </a:lnTo>
                  <a:lnTo>
                    <a:pt x="569" y="1324"/>
                  </a:lnTo>
                  <a:lnTo>
                    <a:pt x="548" y="1368"/>
                  </a:lnTo>
                  <a:lnTo>
                    <a:pt x="527" y="1412"/>
                  </a:lnTo>
                  <a:lnTo>
                    <a:pt x="506" y="1457"/>
                  </a:lnTo>
                  <a:lnTo>
                    <a:pt x="482" y="1501"/>
                  </a:lnTo>
                  <a:lnTo>
                    <a:pt x="458" y="1547"/>
                  </a:lnTo>
                  <a:lnTo>
                    <a:pt x="432" y="1593"/>
                  </a:lnTo>
                  <a:lnTo>
                    <a:pt x="405" y="1639"/>
                  </a:lnTo>
                  <a:lnTo>
                    <a:pt x="375" y="1685"/>
                  </a:lnTo>
                  <a:lnTo>
                    <a:pt x="344" y="1731"/>
                  </a:lnTo>
                  <a:lnTo>
                    <a:pt x="312" y="1778"/>
                  </a:lnTo>
                  <a:lnTo>
                    <a:pt x="277" y="1824"/>
                  </a:lnTo>
                  <a:lnTo>
                    <a:pt x="272" y="1832"/>
                  </a:lnTo>
                  <a:lnTo>
                    <a:pt x="269" y="1840"/>
                  </a:lnTo>
                  <a:lnTo>
                    <a:pt x="269" y="1844"/>
                  </a:lnTo>
                  <a:lnTo>
                    <a:pt x="268" y="1847"/>
                  </a:lnTo>
                  <a:lnTo>
                    <a:pt x="269" y="1851"/>
                  </a:lnTo>
                  <a:lnTo>
                    <a:pt x="270" y="1854"/>
                  </a:lnTo>
                  <a:lnTo>
                    <a:pt x="272" y="1857"/>
                  </a:lnTo>
                  <a:lnTo>
                    <a:pt x="274" y="1859"/>
                  </a:lnTo>
                  <a:lnTo>
                    <a:pt x="276" y="1861"/>
                  </a:lnTo>
                  <a:lnTo>
                    <a:pt x="279" y="1863"/>
                  </a:lnTo>
                  <a:lnTo>
                    <a:pt x="287" y="1865"/>
                  </a:lnTo>
                  <a:lnTo>
                    <a:pt x="295" y="1866"/>
                  </a:lnTo>
                  <a:lnTo>
                    <a:pt x="306" y="1865"/>
                  </a:lnTo>
                  <a:lnTo>
                    <a:pt x="317" y="1862"/>
                  </a:lnTo>
                  <a:lnTo>
                    <a:pt x="327" y="1858"/>
                  </a:lnTo>
                  <a:lnTo>
                    <a:pt x="338" y="1852"/>
                  </a:lnTo>
                  <a:lnTo>
                    <a:pt x="350" y="1843"/>
                  </a:lnTo>
                  <a:lnTo>
                    <a:pt x="363" y="1834"/>
                  </a:lnTo>
                  <a:lnTo>
                    <a:pt x="375" y="1824"/>
                  </a:lnTo>
                  <a:lnTo>
                    <a:pt x="388" y="1813"/>
                  </a:lnTo>
                  <a:lnTo>
                    <a:pt x="401" y="1801"/>
                  </a:lnTo>
                  <a:lnTo>
                    <a:pt x="415" y="1786"/>
                  </a:lnTo>
                  <a:lnTo>
                    <a:pt x="429" y="1772"/>
                  </a:lnTo>
                  <a:lnTo>
                    <a:pt x="442" y="1757"/>
                  </a:lnTo>
                  <a:lnTo>
                    <a:pt x="471" y="1722"/>
                  </a:lnTo>
                  <a:lnTo>
                    <a:pt x="500" y="1684"/>
                  </a:lnTo>
                  <a:lnTo>
                    <a:pt x="531" y="1642"/>
                  </a:lnTo>
                  <a:lnTo>
                    <a:pt x="563" y="1596"/>
                  </a:lnTo>
                  <a:lnTo>
                    <a:pt x="594" y="1547"/>
                  </a:lnTo>
                  <a:lnTo>
                    <a:pt x="627" y="1494"/>
                  </a:lnTo>
                  <a:lnTo>
                    <a:pt x="661" y="1438"/>
                  </a:lnTo>
                  <a:lnTo>
                    <a:pt x="694" y="1379"/>
                  </a:lnTo>
                  <a:lnTo>
                    <a:pt x="728" y="1317"/>
                  </a:lnTo>
                  <a:lnTo>
                    <a:pt x="763" y="1250"/>
                  </a:lnTo>
                  <a:lnTo>
                    <a:pt x="797" y="1181"/>
                  </a:lnTo>
                  <a:lnTo>
                    <a:pt x="832" y="1110"/>
                  </a:lnTo>
                  <a:lnTo>
                    <a:pt x="858" y="1056"/>
                  </a:lnTo>
                  <a:lnTo>
                    <a:pt x="883" y="1008"/>
                  </a:lnTo>
                  <a:lnTo>
                    <a:pt x="906" y="964"/>
                  </a:lnTo>
                  <a:lnTo>
                    <a:pt x="930" y="923"/>
                  </a:lnTo>
                  <a:lnTo>
                    <a:pt x="951" y="886"/>
                  </a:lnTo>
                  <a:lnTo>
                    <a:pt x="972" y="852"/>
                  </a:lnTo>
                  <a:lnTo>
                    <a:pt x="992" y="822"/>
                  </a:lnTo>
                  <a:lnTo>
                    <a:pt x="1010" y="793"/>
                  </a:lnTo>
                  <a:lnTo>
                    <a:pt x="1029" y="768"/>
                  </a:lnTo>
                  <a:lnTo>
                    <a:pt x="1047" y="745"/>
                  </a:lnTo>
                  <a:lnTo>
                    <a:pt x="1063" y="724"/>
                  </a:lnTo>
                  <a:lnTo>
                    <a:pt x="1080" y="704"/>
                  </a:lnTo>
                  <a:lnTo>
                    <a:pt x="1110" y="670"/>
                  </a:lnTo>
                  <a:lnTo>
                    <a:pt x="1139" y="639"/>
                  </a:lnTo>
                  <a:lnTo>
                    <a:pt x="1152" y="625"/>
                  </a:lnTo>
                  <a:lnTo>
                    <a:pt x="1164" y="610"/>
                  </a:lnTo>
                  <a:lnTo>
                    <a:pt x="1169" y="606"/>
                  </a:lnTo>
                  <a:lnTo>
                    <a:pt x="1172" y="601"/>
                  </a:lnTo>
                  <a:lnTo>
                    <a:pt x="1175" y="597"/>
                  </a:lnTo>
                  <a:lnTo>
                    <a:pt x="1177" y="592"/>
                  </a:lnTo>
                  <a:lnTo>
                    <a:pt x="1178" y="588"/>
                  </a:lnTo>
                  <a:lnTo>
                    <a:pt x="1179" y="584"/>
                  </a:lnTo>
                  <a:lnTo>
                    <a:pt x="1179" y="580"/>
                  </a:lnTo>
                  <a:lnTo>
                    <a:pt x="1178" y="575"/>
                  </a:lnTo>
                  <a:lnTo>
                    <a:pt x="1175" y="569"/>
                  </a:lnTo>
                  <a:lnTo>
                    <a:pt x="1171" y="561"/>
                  </a:lnTo>
                  <a:lnTo>
                    <a:pt x="1164" y="555"/>
                  </a:lnTo>
                  <a:lnTo>
                    <a:pt x="1157" y="549"/>
                  </a:lnTo>
                  <a:lnTo>
                    <a:pt x="1148" y="543"/>
                  </a:lnTo>
                  <a:lnTo>
                    <a:pt x="1137" y="537"/>
                  </a:lnTo>
                  <a:lnTo>
                    <a:pt x="1125" y="532"/>
                  </a:lnTo>
                  <a:lnTo>
                    <a:pt x="1111" y="527"/>
                  </a:lnTo>
                  <a:lnTo>
                    <a:pt x="1092" y="521"/>
                  </a:lnTo>
                  <a:lnTo>
                    <a:pt x="1074" y="518"/>
                  </a:lnTo>
                  <a:lnTo>
                    <a:pt x="1065" y="517"/>
                  </a:lnTo>
                  <a:lnTo>
                    <a:pt x="1056" y="517"/>
                  </a:lnTo>
                  <a:lnTo>
                    <a:pt x="1049" y="517"/>
                  </a:lnTo>
                  <a:lnTo>
                    <a:pt x="1041" y="518"/>
                  </a:lnTo>
                  <a:lnTo>
                    <a:pt x="1034" y="520"/>
                  </a:lnTo>
                  <a:lnTo>
                    <a:pt x="1027" y="522"/>
                  </a:lnTo>
                  <a:lnTo>
                    <a:pt x="1020" y="525"/>
                  </a:lnTo>
                  <a:lnTo>
                    <a:pt x="1012" y="528"/>
                  </a:lnTo>
                  <a:lnTo>
                    <a:pt x="1006" y="532"/>
                  </a:lnTo>
                  <a:lnTo>
                    <a:pt x="1000" y="537"/>
                  </a:lnTo>
                  <a:lnTo>
                    <a:pt x="994" y="542"/>
                  </a:lnTo>
                  <a:lnTo>
                    <a:pt x="989" y="548"/>
                  </a:lnTo>
                  <a:lnTo>
                    <a:pt x="985" y="551"/>
                  </a:lnTo>
                  <a:lnTo>
                    <a:pt x="948" y="593"/>
                  </a:lnTo>
                  <a:lnTo>
                    <a:pt x="909" y="635"/>
                  </a:lnTo>
                  <a:lnTo>
                    <a:pt x="870" y="675"/>
                  </a:lnTo>
                  <a:lnTo>
                    <a:pt x="832" y="711"/>
                  </a:lnTo>
                  <a:lnTo>
                    <a:pt x="813" y="728"/>
                  </a:lnTo>
                  <a:lnTo>
                    <a:pt x="795" y="743"/>
                  </a:lnTo>
                  <a:lnTo>
                    <a:pt x="778" y="756"/>
                  </a:lnTo>
                  <a:lnTo>
                    <a:pt x="762" y="769"/>
                  </a:lnTo>
                  <a:lnTo>
                    <a:pt x="746" y="778"/>
                  </a:lnTo>
                  <a:lnTo>
                    <a:pt x="732" y="784"/>
                  </a:lnTo>
                  <a:lnTo>
                    <a:pt x="725" y="787"/>
                  </a:lnTo>
                  <a:lnTo>
                    <a:pt x="719" y="789"/>
                  </a:lnTo>
                  <a:lnTo>
                    <a:pt x="713" y="790"/>
                  </a:lnTo>
                  <a:lnTo>
                    <a:pt x="707" y="790"/>
                  </a:lnTo>
                  <a:lnTo>
                    <a:pt x="697" y="789"/>
                  </a:lnTo>
                  <a:lnTo>
                    <a:pt x="688" y="786"/>
                  </a:lnTo>
                  <a:lnTo>
                    <a:pt x="684" y="784"/>
                  </a:lnTo>
                  <a:lnTo>
                    <a:pt x="680" y="782"/>
                  </a:lnTo>
                  <a:lnTo>
                    <a:pt x="676" y="779"/>
                  </a:lnTo>
                  <a:lnTo>
                    <a:pt x="673" y="776"/>
                  </a:lnTo>
                  <a:lnTo>
                    <a:pt x="668" y="770"/>
                  </a:lnTo>
                  <a:lnTo>
                    <a:pt x="664" y="762"/>
                  </a:lnTo>
                  <a:lnTo>
                    <a:pt x="661" y="755"/>
                  </a:lnTo>
                  <a:lnTo>
                    <a:pt x="657" y="747"/>
                  </a:lnTo>
                  <a:lnTo>
                    <a:pt x="653" y="730"/>
                  </a:lnTo>
                  <a:lnTo>
                    <a:pt x="651" y="711"/>
                  </a:lnTo>
                  <a:lnTo>
                    <a:pt x="651" y="692"/>
                  </a:lnTo>
                  <a:lnTo>
                    <a:pt x="651" y="672"/>
                  </a:lnTo>
                  <a:lnTo>
                    <a:pt x="653" y="652"/>
                  </a:lnTo>
                  <a:lnTo>
                    <a:pt x="654" y="634"/>
                  </a:lnTo>
                  <a:lnTo>
                    <a:pt x="655" y="622"/>
                  </a:lnTo>
                  <a:lnTo>
                    <a:pt x="656" y="611"/>
                  </a:lnTo>
                  <a:lnTo>
                    <a:pt x="656" y="604"/>
                  </a:lnTo>
                  <a:lnTo>
                    <a:pt x="655" y="597"/>
                  </a:lnTo>
                  <a:lnTo>
                    <a:pt x="654" y="591"/>
                  </a:lnTo>
                  <a:lnTo>
                    <a:pt x="652" y="585"/>
                  </a:lnTo>
                  <a:lnTo>
                    <a:pt x="650" y="579"/>
                  </a:lnTo>
                  <a:lnTo>
                    <a:pt x="647" y="574"/>
                  </a:lnTo>
                  <a:lnTo>
                    <a:pt x="644" y="569"/>
                  </a:lnTo>
                  <a:lnTo>
                    <a:pt x="639" y="564"/>
                  </a:lnTo>
                  <a:lnTo>
                    <a:pt x="634" y="560"/>
                  </a:lnTo>
                  <a:lnTo>
                    <a:pt x="629" y="556"/>
                  </a:lnTo>
                  <a:lnTo>
                    <a:pt x="622" y="552"/>
                  </a:lnTo>
                  <a:lnTo>
                    <a:pt x="615" y="549"/>
                  </a:lnTo>
                  <a:lnTo>
                    <a:pt x="598" y="544"/>
                  </a:lnTo>
                  <a:lnTo>
                    <a:pt x="578" y="539"/>
                  </a:lnTo>
                  <a:lnTo>
                    <a:pt x="558" y="537"/>
                  </a:lnTo>
                  <a:lnTo>
                    <a:pt x="529" y="533"/>
                  </a:lnTo>
                  <a:lnTo>
                    <a:pt x="493" y="530"/>
                  </a:lnTo>
                  <a:lnTo>
                    <a:pt x="453" y="527"/>
                  </a:lnTo>
                  <a:lnTo>
                    <a:pt x="411" y="525"/>
                  </a:lnTo>
                  <a:lnTo>
                    <a:pt x="366" y="522"/>
                  </a:lnTo>
                  <a:lnTo>
                    <a:pt x="322" y="520"/>
                  </a:lnTo>
                  <a:lnTo>
                    <a:pt x="279" y="517"/>
                  </a:lnTo>
                  <a:lnTo>
                    <a:pt x="272" y="517"/>
                  </a:lnTo>
                  <a:lnTo>
                    <a:pt x="273" y="510"/>
                  </a:lnTo>
                  <a:lnTo>
                    <a:pt x="286" y="448"/>
                  </a:lnTo>
                  <a:lnTo>
                    <a:pt x="300" y="387"/>
                  </a:lnTo>
                  <a:lnTo>
                    <a:pt x="316" y="329"/>
                  </a:lnTo>
                  <a:lnTo>
                    <a:pt x="332" y="274"/>
                  </a:lnTo>
                  <a:lnTo>
                    <a:pt x="340" y="248"/>
                  </a:lnTo>
                  <a:lnTo>
                    <a:pt x="349" y="223"/>
                  </a:lnTo>
                  <a:lnTo>
                    <a:pt x="358" y="199"/>
                  </a:lnTo>
                  <a:lnTo>
                    <a:pt x="367" y="178"/>
                  </a:lnTo>
                  <a:lnTo>
                    <a:pt x="376" y="157"/>
                  </a:lnTo>
                  <a:lnTo>
                    <a:pt x="384" y="138"/>
                  </a:lnTo>
                  <a:lnTo>
                    <a:pt x="393" y="122"/>
                  </a:lnTo>
                  <a:lnTo>
                    <a:pt x="401" y="106"/>
                  </a:lnTo>
                  <a:lnTo>
                    <a:pt x="413" y="86"/>
                  </a:lnTo>
                  <a:lnTo>
                    <a:pt x="422" y="67"/>
                  </a:lnTo>
                  <a:lnTo>
                    <a:pt x="425" y="59"/>
                  </a:lnTo>
                  <a:lnTo>
                    <a:pt x="426" y="52"/>
                  </a:lnTo>
                  <a:lnTo>
                    <a:pt x="426" y="45"/>
                  </a:lnTo>
                  <a:lnTo>
                    <a:pt x="424" y="39"/>
                  </a:lnTo>
                  <a:lnTo>
                    <a:pt x="422" y="34"/>
                  </a:lnTo>
                  <a:lnTo>
                    <a:pt x="418" y="30"/>
                  </a:lnTo>
                  <a:lnTo>
                    <a:pt x="413" y="25"/>
                  </a:lnTo>
                  <a:lnTo>
                    <a:pt x="406" y="20"/>
                  </a:lnTo>
                  <a:lnTo>
                    <a:pt x="397" y="16"/>
                  </a:lnTo>
                  <a:lnTo>
                    <a:pt x="387" y="13"/>
                  </a:lnTo>
                  <a:lnTo>
                    <a:pt x="376" y="9"/>
                  </a:lnTo>
                  <a:lnTo>
                    <a:pt x="364" y="6"/>
                  </a:lnTo>
                  <a:lnTo>
                    <a:pt x="353" y="3"/>
                  </a:lnTo>
                  <a:lnTo>
                    <a:pt x="342" y="1"/>
                  </a:lnTo>
                  <a:lnTo>
                    <a:pt x="333" y="0"/>
                  </a:lnTo>
                  <a:lnTo>
                    <a:pt x="323" y="0"/>
                  </a:lnTo>
                  <a:lnTo>
                    <a:pt x="313" y="1"/>
                  </a:lnTo>
                  <a:lnTo>
                    <a:pt x="304" y="2"/>
                  </a:lnTo>
                  <a:lnTo>
                    <a:pt x="294" y="4"/>
                  </a:lnTo>
                  <a:lnTo>
                    <a:pt x="286" y="7"/>
                  </a:lnTo>
                  <a:lnTo>
                    <a:pt x="279" y="11"/>
                  </a:lnTo>
                  <a:lnTo>
                    <a:pt x="273" y="15"/>
                  </a:lnTo>
                  <a:lnTo>
                    <a:pt x="267" y="20"/>
                  </a:lnTo>
                  <a:lnTo>
                    <a:pt x="262" y="26"/>
                  </a:lnTo>
                  <a:lnTo>
                    <a:pt x="253" y="37"/>
                  </a:lnTo>
                  <a:lnTo>
                    <a:pt x="245" y="49"/>
                  </a:lnTo>
                  <a:lnTo>
                    <a:pt x="240" y="61"/>
                  </a:lnTo>
                  <a:lnTo>
                    <a:pt x="235" y="73"/>
                  </a:lnTo>
                  <a:lnTo>
                    <a:pt x="216" y="124"/>
                  </a:lnTo>
                  <a:lnTo>
                    <a:pt x="197" y="177"/>
                  </a:lnTo>
                  <a:lnTo>
                    <a:pt x="180" y="230"/>
                  </a:lnTo>
                  <a:lnTo>
                    <a:pt x="164" y="285"/>
                  </a:lnTo>
                  <a:lnTo>
                    <a:pt x="150" y="340"/>
                  </a:lnTo>
                  <a:lnTo>
                    <a:pt x="137" y="395"/>
                  </a:lnTo>
                  <a:lnTo>
                    <a:pt x="126" y="450"/>
                  </a:lnTo>
                  <a:lnTo>
                    <a:pt x="117" y="505"/>
                  </a:lnTo>
                  <a:lnTo>
                    <a:pt x="116" y="510"/>
                  </a:lnTo>
                  <a:lnTo>
                    <a:pt x="111" y="510"/>
                  </a:lnTo>
                  <a:lnTo>
                    <a:pt x="89" y="509"/>
                  </a:lnTo>
                  <a:lnTo>
                    <a:pt x="71" y="509"/>
                  </a:lnTo>
                  <a:lnTo>
                    <a:pt x="54" y="509"/>
                  </a:lnTo>
                  <a:lnTo>
                    <a:pt x="39" y="509"/>
                  </a:lnTo>
                  <a:lnTo>
                    <a:pt x="26" y="510"/>
                  </a:lnTo>
                  <a:lnTo>
                    <a:pt x="16" y="512"/>
                  </a:lnTo>
                  <a:lnTo>
                    <a:pt x="11" y="514"/>
                  </a:lnTo>
                  <a:lnTo>
                    <a:pt x="8" y="517"/>
                  </a:lnTo>
                  <a:lnTo>
                    <a:pt x="5" y="519"/>
                  </a:lnTo>
                  <a:lnTo>
                    <a:pt x="3" y="522"/>
                  </a:lnTo>
                  <a:lnTo>
                    <a:pt x="2" y="524"/>
                  </a:lnTo>
                  <a:lnTo>
                    <a:pt x="1" y="528"/>
                  </a:lnTo>
                  <a:lnTo>
                    <a:pt x="0" y="531"/>
                  </a:lnTo>
                  <a:lnTo>
                    <a:pt x="0" y="535"/>
                  </a:lnTo>
                  <a:lnTo>
                    <a:pt x="2" y="545"/>
                  </a:lnTo>
                  <a:lnTo>
                    <a:pt x="6" y="555"/>
                  </a:lnTo>
                  <a:lnTo>
                    <a:pt x="11" y="566"/>
                  </a:lnTo>
                  <a:lnTo>
                    <a:pt x="17" y="577"/>
                  </a:lnTo>
                  <a:lnTo>
                    <a:pt x="25" y="588"/>
                  </a:lnTo>
                  <a:lnTo>
                    <a:pt x="34" y="600"/>
                  </a:lnTo>
                  <a:lnTo>
                    <a:pt x="40" y="606"/>
                  </a:lnTo>
                  <a:lnTo>
                    <a:pt x="47" y="611"/>
                  </a:lnTo>
                  <a:lnTo>
                    <a:pt x="54" y="618"/>
                  </a:lnTo>
                  <a:lnTo>
                    <a:pt x="61" y="623"/>
                  </a:lnTo>
                  <a:lnTo>
                    <a:pt x="69" y="627"/>
                  </a:lnTo>
                  <a:lnTo>
                    <a:pt x="77" y="631"/>
                  </a:lnTo>
                  <a:lnTo>
                    <a:pt x="86" y="635"/>
                  </a:lnTo>
                  <a:lnTo>
                    <a:pt x="96" y="638"/>
                  </a:lnTo>
                  <a:lnTo>
                    <a:pt x="102" y="640"/>
                  </a:lnTo>
                  <a:lnTo>
                    <a:pt x="101" y="644"/>
                  </a:lnTo>
                  <a:lnTo>
                    <a:pt x="100" y="669"/>
                  </a:lnTo>
                  <a:lnTo>
                    <a:pt x="99" y="693"/>
                  </a:lnTo>
                  <a:lnTo>
                    <a:pt x="98" y="718"/>
                  </a:lnTo>
                  <a:lnTo>
                    <a:pt x="98" y="741"/>
                  </a:lnTo>
                  <a:lnTo>
                    <a:pt x="98" y="771"/>
                  </a:lnTo>
                  <a:lnTo>
                    <a:pt x="99" y="798"/>
                  </a:lnTo>
                  <a:lnTo>
                    <a:pt x="102" y="825"/>
                  </a:lnTo>
                  <a:lnTo>
                    <a:pt x="106" y="849"/>
                  </a:lnTo>
                  <a:lnTo>
                    <a:pt x="110" y="873"/>
                  </a:lnTo>
                  <a:lnTo>
                    <a:pt x="116" y="894"/>
                  </a:lnTo>
                  <a:lnTo>
                    <a:pt x="123" y="914"/>
                  </a:lnTo>
                  <a:lnTo>
                    <a:pt x="131" y="932"/>
                  </a:lnTo>
                  <a:lnTo>
                    <a:pt x="141" y="948"/>
                  </a:lnTo>
                  <a:lnTo>
                    <a:pt x="152" y="963"/>
                  </a:lnTo>
                  <a:lnTo>
                    <a:pt x="163" y="976"/>
                  </a:lnTo>
                  <a:lnTo>
                    <a:pt x="176" y="987"/>
                  </a:lnTo>
                  <a:lnTo>
                    <a:pt x="189" y="997"/>
                  </a:lnTo>
                  <a:lnTo>
                    <a:pt x="204" y="1004"/>
                  </a:lnTo>
                  <a:lnTo>
                    <a:pt x="220" y="1011"/>
                  </a:lnTo>
                  <a:lnTo>
                    <a:pt x="236" y="1016"/>
                  </a:lnTo>
                  <a:lnTo>
                    <a:pt x="242" y="1017"/>
                  </a:lnTo>
                  <a:lnTo>
                    <a:pt x="248" y="1017"/>
                  </a:lnTo>
                  <a:lnTo>
                    <a:pt x="259" y="1016"/>
                  </a:lnTo>
                  <a:lnTo>
                    <a:pt x="268" y="1014"/>
                  </a:lnTo>
                  <a:lnTo>
                    <a:pt x="273" y="1012"/>
                  </a:lnTo>
                  <a:lnTo>
                    <a:pt x="277" y="1010"/>
                  </a:lnTo>
                  <a:lnTo>
                    <a:pt x="280" y="1007"/>
                  </a:lnTo>
                  <a:lnTo>
                    <a:pt x="282" y="1004"/>
                  </a:lnTo>
                  <a:lnTo>
                    <a:pt x="284" y="999"/>
                  </a:lnTo>
                  <a:lnTo>
                    <a:pt x="284" y="994"/>
                  </a:lnTo>
                  <a:lnTo>
                    <a:pt x="282" y="989"/>
                  </a:lnTo>
                  <a:lnTo>
                    <a:pt x="279" y="982"/>
                  </a:lnTo>
                  <a:lnTo>
                    <a:pt x="271" y="966"/>
                  </a:lnTo>
                  <a:lnTo>
                    <a:pt x="265" y="948"/>
                  </a:lnTo>
                  <a:lnTo>
                    <a:pt x="259" y="929"/>
                  </a:lnTo>
                  <a:lnTo>
                    <a:pt x="254" y="909"/>
                  </a:lnTo>
                  <a:lnTo>
                    <a:pt x="251" y="888"/>
                  </a:lnTo>
                  <a:lnTo>
                    <a:pt x="247" y="866"/>
                  </a:lnTo>
                  <a:lnTo>
                    <a:pt x="245" y="843"/>
                  </a:lnTo>
                  <a:lnTo>
                    <a:pt x="244" y="820"/>
                  </a:lnTo>
                  <a:lnTo>
                    <a:pt x="243" y="796"/>
                  </a:lnTo>
                  <a:lnTo>
                    <a:pt x="243" y="773"/>
                  </a:lnTo>
                  <a:lnTo>
                    <a:pt x="244" y="748"/>
                  </a:lnTo>
                  <a:lnTo>
                    <a:pt x="245" y="725"/>
                  </a:lnTo>
                  <a:lnTo>
                    <a:pt x="249" y="678"/>
                  </a:lnTo>
                  <a:lnTo>
                    <a:pt x="254" y="633"/>
                  </a:lnTo>
                  <a:lnTo>
                    <a:pt x="255" y="629"/>
                  </a:lnTo>
                  <a:lnTo>
                    <a:pt x="259" y="628"/>
                  </a:lnTo>
                  <a:lnTo>
                    <a:pt x="282" y="625"/>
                  </a:lnTo>
                  <a:lnTo>
                    <a:pt x="307" y="622"/>
                  </a:lnTo>
                  <a:lnTo>
                    <a:pt x="332" y="618"/>
                  </a:lnTo>
                  <a:lnTo>
                    <a:pt x="357" y="615"/>
                  </a:lnTo>
                  <a:lnTo>
                    <a:pt x="381" y="612"/>
                  </a:lnTo>
                  <a:lnTo>
                    <a:pt x="406" y="610"/>
                  </a:lnTo>
                  <a:lnTo>
                    <a:pt x="428" y="608"/>
                  </a:lnTo>
                  <a:lnTo>
                    <a:pt x="448" y="607"/>
                  </a:lnTo>
                  <a:lnTo>
                    <a:pt x="450" y="607"/>
                  </a:lnTo>
                  <a:lnTo>
                    <a:pt x="459" y="608"/>
                  </a:lnTo>
                  <a:lnTo>
                    <a:pt x="466" y="610"/>
                  </a:lnTo>
                  <a:lnTo>
                    <a:pt x="472" y="612"/>
                  </a:lnTo>
                  <a:lnTo>
                    <a:pt x="477" y="617"/>
                  </a:lnTo>
                  <a:lnTo>
                    <a:pt x="479" y="620"/>
                  </a:lnTo>
                  <a:lnTo>
                    <a:pt x="481" y="623"/>
                  </a:lnTo>
                  <a:lnTo>
                    <a:pt x="482" y="626"/>
                  </a:lnTo>
                  <a:lnTo>
                    <a:pt x="483" y="630"/>
                  </a:lnTo>
                  <a:lnTo>
                    <a:pt x="483" y="637"/>
                  </a:lnTo>
                  <a:lnTo>
                    <a:pt x="483" y="645"/>
                  </a:lnTo>
                  <a:lnTo>
                    <a:pt x="483" y="657"/>
                  </a:lnTo>
                  <a:lnTo>
                    <a:pt x="483" y="674"/>
                  </a:lnTo>
                  <a:lnTo>
                    <a:pt x="485" y="693"/>
                  </a:lnTo>
                  <a:lnTo>
                    <a:pt x="489" y="717"/>
                  </a:lnTo>
                  <a:lnTo>
                    <a:pt x="492" y="728"/>
                  </a:lnTo>
                  <a:lnTo>
                    <a:pt x="495" y="741"/>
                  </a:lnTo>
                  <a:lnTo>
                    <a:pt x="500" y="753"/>
                  </a:lnTo>
                  <a:lnTo>
                    <a:pt x="506" y="766"/>
                  </a:lnTo>
                  <a:lnTo>
                    <a:pt x="513" y="779"/>
                  </a:lnTo>
                  <a:lnTo>
                    <a:pt x="520" y="791"/>
                  </a:lnTo>
                  <a:lnTo>
                    <a:pt x="529" y="803"/>
                  </a:lnTo>
                  <a:lnTo>
                    <a:pt x="539" y="816"/>
                  </a:lnTo>
                  <a:lnTo>
                    <a:pt x="548" y="824"/>
                  </a:lnTo>
                  <a:lnTo>
                    <a:pt x="558" y="832"/>
                  </a:lnTo>
                  <a:lnTo>
                    <a:pt x="568" y="840"/>
                  </a:lnTo>
                  <a:lnTo>
                    <a:pt x="578" y="846"/>
                  </a:lnTo>
                  <a:lnTo>
                    <a:pt x="589" y="853"/>
                  </a:lnTo>
                  <a:lnTo>
                    <a:pt x="600" y="858"/>
                  </a:lnTo>
                  <a:lnTo>
                    <a:pt x="613" y="865"/>
                  </a:lnTo>
                  <a:lnTo>
                    <a:pt x="626" y="869"/>
                  </a:lnTo>
                  <a:lnTo>
                    <a:pt x="639" y="873"/>
                  </a:lnTo>
                  <a:lnTo>
                    <a:pt x="652" y="877"/>
                  </a:lnTo>
                  <a:lnTo>
                    <a:pt x="668" y="879"/>
                  </a:lnTo>
                  <a:lnTo>
                    <a:pt x="682" y="882"/>
                  </a:lnTo>
                  <a:lnTo>
                    <a:pt x="697" y="883"/>
                  </a:lnTo>
                  <a:lnTo>
                    <a:pt x="714" y="884"/>
                  </a:lnTo>
                  <a:lnTo>
                    <a:pt x="730" y="885"/>
                  </a:lnTo>
                  <a:lnTo>
                    <a:pt x="747" y="885"/>
                  </a:lnTo>
                  <a:lnTo>
                    <a:pt x="756" y="8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9" name="Freeform 36"/>
            <p:cNvSpPr>
              <a:spLocks/>
            </p:cNvSpPr>
            <p:nvPr userDrawn="1"/>
          </p:nvSpPr>
          <p:spPr bwMode="auto">
            <a:xfrm>
              <a:off x="6460" y="648"/>
              <a:ext cx="42" cy="70"/>
            </a:xfrm>
            <a:custGeom>
              <a:avLst/>
              <a:gdLst>
                <a:gd name="T0" fmla="*/ 395 w 504"/>
                <a:gd name="T1" fmla="*/ 126 h 840"/>
                <a:gd name="T2" fmla="*/ 353 w 504"/>
                <a:gd name="T3" fmla="*/ 165 h 840"/>
                <a:gd name="T4" fmla="*/ 314 w 504"/>
                <a:gd name="T5" fmla="*/ 203 h 840"/>
                <a:gd name="T6" fmla="*/ 279 w 504"/>
                <a:gd name="T7" fmla="*/ 243 h 840"/>
                <a:gd name="T8" fmla="*/ 248 w 504"/>
                <a:gd name="T9" fmla="*/ 283 h 840"/>
                <a:gd name="T10" fmla="*/ 219 w 504"/>
                <a:gd name="T11" fmla="*/ 323 h 840"/>
                <a:gd name="T12" fmla="*/ 195 w 504"/>
                <a:gd name="T13" fmla="*/ 365 h 840"/>
                <a:gd name="T14" fmla="*/ 174 w 504"/>
                <a:gd name="T15" fmla="*/ 407 h 840"/>
                <a:gd name="T16" fmla="*/ 156 w 504"/>
                <a:gd name="T17" fmla="*/ 451 h 840"/>
                <a:gd name="T18" fmla="*/ 135 w 504"/>
                <a:gd name="T19" fmla="*/ 514 h 840"/>
                <a:gd name="T20" fmla="*/ 122 w 504"/>
                <a:gd name="T21" fmla="*/ 567 h 840"/>
                <a:gd name="T22" fmla="*/ 115 w 504"/>
                <a:gd name="T23" fmla="*/ 613 h 840"/>
                <a:gd name="T24" fmla="*/ 114 w 504"/>
                <a:gd name="T25" fmla="*/ 650 h 840"/>
                <a:gd name="T26" fmla="*/ 116 w 504"/>
                <a:gd name="T27" fmla="*/ 681 h 840"/>
                <a:gd name="T28" fmla="*/ 121 w 504"/>
                <a:gd name="T29" fmla="*/ 704 h 840"/>
                <a:gd name="T30" fmla="*/ 127 w 504"/>
                <a:gd name="T31" fmla="*/ 723 h 840"/>
                <a:gd name="T32" fmla="*/ 135 w 504"/>
                <a:gd name="T33" fmla="*/ 736 h 840"/>
                <a:gd name="T34" fmla="*/ 146 w 504"/>
                <a:gd name="T35" fmla="*/ 748 h 840"/>
                <a:gd name="T36" fmla="*/ 159 w 504"/>
                <a:gd name="T37" fmla="*/ 757 h 840"/>
                <a:gd name="T38" fmla="*/ 173 w 504"/>
                <a:gd name="T39" fmla="*/ 762 h 840"/>
                <a:gd name="T40" fmla="*/ 188 w 504"/>
                <a:gd name="T41" fmla="*/ 764 h 840"/>
                <a:gd name="T42" fmla="*/ 208 w 504"/>
                <a:gd name="T43" fmla="*/ 840 h 840"/>
                <a:gd name="T44" fmla="*/ 182 w 504"/>
                <a:gd name="T45" fmla="*/ 839 h 840"/>
                <a:gd name="T46" fmla="*/ 159 w 504"/>
                <a:gd name="T47" fmla="*/ 835 h 840"/>
                <a:gd name="T48" fmla="*/ 136 w 504"/>
                <a:gd name="T49" fmla="*/ 829 h 840"/>
                <a:gd name="T50" fmla="*/ 115 w 504"/>
                <a:gd name="T51" fmla="*/ 821 h 840"/>
                <a:gd name="T52" fmla="*/ 96 w 504"/>
                <a:gd name="T53" fmla="*/ 809 h 840"/>
                <a:gd name="T54" fmla="*/ 77 w 504"/>
                <a:gd name="T55" fmla="*/ 795 h 840"/>
                <a:gd name="T56" fmla="*/ 61 w 504"/>
                <a:gd name="T57" fmla="*/ 780 h 840"/>
                <a:gd name="T58" fmla="*/ 47 w 504"/>
                <a:gd name="T59" fmla="*/ 761 h 840"/>
                <a:gd name="T60" fmla="*/ 28 w 504"/>
                <a:gd name="T61" fmla="*/ 731 h 840"/>
                <a:gd name="T62" fmla="*/ 14 w 504"/>
                <a:gd name="T63" fmla="*/ 696 h 840"/>
                <a:gd name="T64" fmla="*/ 5 w 504"/>
                <a:gd name="T65" fmla="*/ 658 h 840"/>
                <a:gd name="T66" fmla="*/ 1 w 504"/>
                <a:gd name="T67" fmla="*/ 618 h 840"/>
                <a:gd name="T68" fmla="*/ 1 w 504"/>
                <a:gd name="T69" fmla="*/ 576 h 840"/>
                <a:gd name="T70" fmla="*/ 5 w 504"/>
                <a:gd name="T71" fmla="*/ 532 h 840"/>
                <a:gd name="T72" fmla="*/ 14 w 504"/>
                <a:gd name="T73" fmla="*/ 486 h 840"/>
                <a:gd name="T74" fmla="*/ 27 w 504"/>
                <a:gd name="T75" fmla="*/ 439 h 840"/>
                <a:gd name="T76" fmla="*/ 51 w 504"/>
                <a:gd name="T77" fmla="*/ 380 h 840"/>
                <a:gd name="T78" fmla="*/ 81 w 504"/>
                <a:gd name="T79" fmla="*/ 321 h 840"/>
                <a:gd name="T80" fmla="*/ 118 w 504"/>
                <a:gd name="T81" fmla="*/ 264 h 840"/>
                <a:gd name="T82" fmla="*/ 162 w 504"/>
                <a:gd name="T83" fmla="*/ 209 h 840"/>
                <a:gd name="T84" fmla="*/ 212 w 504"/>
                <a:gd name="T85" fmla="*/ 156 h 840"/>
                <a:gd name="T86" fmla="*/ 269 w 504"/>
                <a:gd name="T87" fmla="*/ 103 h 840"/>
                <a:gd name="T88" fmla="*/ 332 w 504"/>
                <a:gd name="T89" fmla="*/ 52 h 840"/>
                <a:gd name="T90" fmla="*/ 403 w 504"/>
                <a:gd name="T91" fmla="*/ 2 h 840"/>
                <a:gd name="T92" fmla="*/ 504 w 504"/>
                <a:gd name="T93" fmla="*/ 26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04" h="840">
                  <a:moveTo>
                    <a:pt x="406" y="118"/>
                  </a:moveTo>
                  <a:lnTo>
                    <a:pt x="395" y="126"/>
                  </a:lnTo>
                  <a:lnTo>
                    <a:pt x="374" y="146"/>
                  </a:lnTo>
                  <a:lnTo>
                    <a:pt x="353" y="165"/>
                  </a:lnTo>
                  <a:lnTo>
                    <a:pt x="333" y="184"/>
                  </a:lnTo>
                  <a:lnTo>
                    <a:pt x="314" y="203"/>
                  </a:lnTo>
                  <a:lnTo>
                    <a:pt x="295" y="223"/>
                  </a:lnTo>
                  <a:lnTo>
                    <a:pt x="279" y="243"/>
                  </a:lnTo>
                  <a:lnTo>
                    <a:pt x="263" y="262"/>
                  </a:lnTo>
                  <a:lnTo>
                    <a:pt x="248" y="283"/>
                  </a:lnTo>
                  <a:lnTo>
                    <a:pt x="233" y="303"/>
                  </a:lnTo>
                  <a:lnTo>
                    <a:pt x="219" y="323"/>
                  </a:lnTo>
                  <a:lnTo>
                    <a:pt x="207" y="344"/>
                  </a:lnTo>
                  <a:lnTo>
                    <a:pt x="195" y="365"/>
                  </a:lnTo>
                  <a:lnTo>
                    <a:pt x="184" y="386"/>
                  </a:lnTo>
                  <a:lnTo>
                    <a:pt x="174" y="407"/>
                  </a:lnTo>
                  <a:lnTo>
                    <a:pt x="165" y="430"/>
                  </a:lnTo>
                  <a:lnTo>
                    <a:pt x="156" y="451"/>
                  </a:lnTo>
                  <a:lnTo>
                    <a:pt x="145" y="484"/>
                  </a:lnTo>
                  <a:lnTo>
                    <a:pt x="135" y="514"/>
                  </a:lnTo>
                  <a:lnTo>
                    <a:pt x="128" y="542"/>
                  </a:lnTo>
                  <a:lnTo>
                    <a:pt x="122" y="567"/>
                  </a:lnTo>
                  <a:lnTo>
                    <a:pt x="118" y="591"/>
                  </a:lnTo>
                  <a:lnTo>
                    <a:pt x="115" y="613"/>
                  </a:lnTo>
                  <a:lnTo>
                    <a:pt x="114" y="633"/>
                  </a:lnTo>
                  <a:lnTo>
                    <a:pt x="114" y="650"/>
                  </a:lnTo>
                  <a:lnTo>
                    <a:pt x="114" y="666"/>
                  </a:lnTo>
                  <a:lnTo>
                    <a:pt x="116" y="681"/>
                  </a:lnTo>
                  <a:lnTo>
                    <a:pt x="118" y="693"/>
                  </a:lnTo>
                  <a:lnTo>
                    <a:pt x="121" y="704"/>
                  </a:lnTo>
                  <a:lnTo>
                    <a:pt x="124" y="714"/>
                  </a:lnTo>
                  <a:lnTo>
                    <a:pt x="127" y="723"/>
                  </a:lnTo>
                  <a:lnTo>
                    <a:pt x="131" y="730"/>
                  </a:lnTo>
                  <a:lnTo>
                    <a:pt x="135" y="736"/>
                  </a:lnTo>
                  <a:lnTo>
                    <a:pt x="140" y="742"/>
                  </a:lnTo>
                  <a:lnTo>
                    <a:pt x="146" y="748"/>
                  </a:lnTo>
                  <a:lnTo>
                    <a:pt x="152" y="753"/>
                  </a:lnTo>
                  <a:lnTo>
                    <a:pt x="159" y="757"/>
                  </a:lnTo>
                  <a:lnTo>
                    <a:pt x="166" y="760"/>
                  </a:lnTo>
                  <a:lnTo>
                    <a:pt x="173" y="762"/>
                  </a:lnTo>
                  <a:lnTo>
                    <a:pt x="180" y="763"/>
                  </a:lnTo>
                  <a:lnTo>
                    <a:pt x="188" y="764"/>
                  </a:lnTo>
                  <a:lnTo>
                    <a:pt x="230" y="801"/>
                  </a:lnTo>
                  <a:lnTo>
                    <a:pt x="208" y="840"/>
                  </a:lnTo>
                  <a:lnTo>
                    <a:pt x="195" y="840"/>
                  </a:lnTo>
                  <a:lnTo>
                    <a:pt x="182" y="839"/>
                  </a:lnTo>
                  <a:lnTo>
                    <a:pt x="170" y="838"/>
                  </a:lnTo>
                  <a:lnTo>
                    <a:pt x="159" y="835"/>
                  </a:lnTo>
                  <a:lnTo>
                    <a:pt x="148" y="833"/>
                  </a:lnTo>
                  <a:lnTo>
                    <a:pt x="136" y="829"/>
                  </a:lnTo>
                  <a:lnTo>
                    <a:pt x="125" y="825"/>
                  </a:lnTo>
                  <a:lnTo>
                    <a:pt x="115" y="821"/>
                  </a:lnTo>
                  <a:lnTo>
                    <a:pt x="105" y="814"/>
                  </a:lnTo>
                  <a:lnTo>
                    <a:pt x="96" y="809"/>
                  </a:lnTo>
                  <a:lnTo>
                    <a:pt x="86" y="802"/>
                  </a:lnTo>
                  <a:lnTo>
                    <a:pt x="77" y="795"/>
                  </a:lnTo>
                  <a:lnTo>
                    <a:pt x="69" y="788"/>
                  </a:lnTo>
                  <a:lnTo>
                    <a:pt x="61" y="780"/>
                  </a:lnTo>
                  <a:lnTo>
                    <a:pt x="54" y="771"/>
                  </a:lnTo>
                  <a:lnTo>
                    <a:pt x="47" y="761"/>
                  </a:lnTo>
                  <a:lnTo>
                    <a:pt x="36" y="746"/>
                  </a:lnTo>
                  <a:lnTo>
                    <a:pt x="28" y="731"/>
                  </a:lnTo>
                  <a:lnTo>
                    <a:pt x="21" y="713"/>
                  </a:lnTo>
                  <a:lnTo>
                    <a:pt x="14" y="696"/>
                  </a:lnTo>
                  <a:lnTo>
                    <a:pt x="9" y="678"/>
                  </a:lnTo>
                  <a:lnTo>
                    <a:pt x="5" y="658"/>
                  </a:lnTo>
                  <a:lnTo>
                    <a:pt x="2" y="639"/>
                  </a:lnTo>
                  <a:lnTo>
                    <a:pt x="1" y="618"/>
                  </a:lnTo>
                  <a:lnTo>
                    <a:pt x="0" y="597"/>
                  </a:lnTo>
                  <a:lnTo>
                    <a:pt x="1" y="576"/>
                  </a:lnTo>
                  <a:lnTo>
                    <a:pt x="2" y="554"/>
                  </a:lnTo>
                  <a:lnTo>
                    <a:pt x="5" y="532"/>
                  </a:lnTo>
                  <a:lnTo>
                    <a:pt x="9" y="509"/>
                  </a:lnTo>
                  <a:lnTo>
                    <a:pt x="14" y="486"/>
                  </a:lnTo>
                  <a:lnTo>
                    <a:pt x="20" y="462"/>
                  </a:lnTo>
                  <a:lnTo>
                    <a:pt x="27" y="439"/>
                  </a:lnTo>
                  <a:lnTo>
                    <a:pt x="38" y="409"/>
                  </a:lnTo>
                  <a:lnTo>
                    <a:pt x="51" y="380"/>
                  </a:lnTo>
                  <a:lnTo>
                    <a:pt x="66" y="350"/>
                  </a:lnTo>
                  <a:lnTo>
                    <a:pt x="81" y="321"/>
                  </a:lnTo>
                  <a:lnTo>
                    <a:pt x="99" y="293"/>
                  </a:lnTo>
                  <a:lnTo>
                    <a:pt x="118" y="264"/>
                  </a:lnTo>
                  <a:lnTo>
                    <a:pt x="139" y="237"/>
                  </a:lnTo>
                  <a:lnTo>
                    <a:pt x="162" y="209"/>
                  </a:lnTo>
                  <a:lnTo>
                    <a:pt x="185" y="183"/>
                  </a:lnTo>
                  <a:lnTo>
                    <a:pt x="212" y="156"/>
                  </a:lnTo>
                  <a:lnTo>
                    <a:pt x="239" y="130"/>
                  </a:lnTo>
                  <a:lnTo>
                    <a:pt x="269" y="103"/>
                  </a:lnTo>
                  <a:lnTo>
                    <a:pt x="300" y="77"/>
                  </a:lnTo>
                  <a:lnTo>
                    <a:pt x="332" y="52"/>
                  </a:lnTo>
                  <a:lnTo>
                    <a:pt x="367" y="26"/>
                  </a:lnTo>
                  <a:lnTo>
                    <a:pt x="403" y="2"/>
                  </a:lnTo>
                  <a:lnTo>
                    <a:pt x="406" y="0"/>
                  </a:lnTo>
                  <a:lnTo>
                    <a:pt x="504" y="26"/>
                  </a:lnTo>
                  <a:lnTo>
                    <a:pt x="406" y="11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0" name="Freeform 37"/>
            <p:cNvSpPr>
              <a:spLocks/>
            </p:cNvSpPr>
            <p:nvPr userDrawn="1"/>
          </p:nvSpPr>
          <p:spPr bwMode="auto">
            <a:xfrm>
              <a:off x="7081" y="570"/>
              <a:ext cx="66" cy="83"/>
            </a:xfrm>
            <a:custGeom>
              <a:avLst/>
              <a:gdLst>
                <a:gd name="T0" fmla="*/ 575 w 783"/>
                <a:gd name="T1" fmla="*/ 794 h 1004"/>
                <a:gd name="T2" fmla="*/ 584 w 783"/>
                <a:gd name="T3" fmla="*/ 863 h 1004"/>
                <a:gd name="T4" fmla="*/ 607 w 783"/>
                <a:gd name="T5" fmla="*/ 922 h 1004"/>
                <a:gd name="T6" fmla="*/ 643 w 783"/>
                <a:gd name="T7" fmla="*/ 967 h 1004"/>
                <a:gd name="T8" fmla="*/ 692 w 783"/>
                <a:gd name="T9" fmla="*/ 1000 h 1004"/>
                <a:gd name="T10" fmla="*/ 718 w 783"/>
                <a:gd name="T11" fmla="*/ 1004 h 1004"/>
                <a:gd name="T12" fmla="*/ 738 w 783"/>
                <a:gd name="T13" fmla="*/ 997 h 1004"/>
                <a:gd name="T14" fmla="*/ 741 w 783"/>
                <a:gd name="T15" fmla="*/ 978 h 1004"/>
                <a:gd name="T16" fmla="*/ 727 w 783"/>
                <a:gd name="T17" fmla="*/ 902 h 1004"/>
                <a:gd name="T18" fmla="*/ 728 w 783"/>
                <a:gd name="T19" fmla="*/ 819 h 1004"/>
                <a:gd name="T20" fmla="*/ 742 w 783"/>
                <a:gd name="T21" fmla="*/ 732 h 1004"/>
                <a:gd name="T22" fmla="*/ 767 w 783"/>
                <a:gd name="T23" fmla="*/ 642 h 1004"/>
                <a:gd name="T24" fmla="*/ 783 w 783"/>
                <a:gd name="T25" fmla="*/ 583 h 1004"/>
                <a:gd name="T26" fmla="*/ 779 w 783"/>
                <a:gd name="T27" fmla="*/ 550 h 1004"/>
                <a:gd name="T28" fmla="*/ 756 w 783"/>
                <a:gd name="T29" fmla="*/ 522 h 1004"/>
                <a:gd name="T30" fmla="*/ 702 w 783"/>
                <a:gd name="T31" fmla="*/ 494 h 1004"/>
                <a:gd name="T32" fmla="*/ 674 w 783"/>
                <a:gd name="T33" fmla="*/ 489 h 1004"/>
                <a:gd name="T34" fmla="*/ 651 w 783"/>
                <a:gd name="T35" fmla="*/ 493 h 1004"/>
                <a:gd name="T36" fmla="*/ 633 w 783"/>
                <a:gd name="T37" fmla="*/ 508 h 1004"/>
                <a:gd name="T38" fmla="*/ 603 w 783"/>
                <a:gd name="T39" fmla="*/ 553 h 1004"/>
                <a:gd name="T40" fmla="*/ 506 w 783"/>
                <a:gd name="T41" fmla="*/ 676 h 1004"/>
                <a:gd name="T42" fmla="*/ 401 w 783"/>
                <a:gd name="T43" fmla="*/ 783 h 1004"/>
                <a:gd name="T44" fmla="*/ 336 w 783"/>
                <a:gd name="T45" fmla="*/ 834 h 1004"/>
                <a:gd name="T46" fmla="*/ 286 w 783"/>
                <a:gd name="T47" fmla="*/ 860 h 1004"/>
                <a:gd name="T48" fmla="*/ 240 w 783"/>
                <a:gd name="T49" fmla="*/ 873 h 1004"/>
                <a:gd name="T50" fmla="*/ 209 w 783"/>
                <a:gd name="T51" fmla="*/ 871 h 1004"/>
                <a:gd name="T52" fmla="*/ 188 w 783"/>
                <a:gd name="T53" fmla="*/ 858 h 1004"/>
                <a:gd name="T54" fmla="*/ 170 w 783"/>
                <a:gd name="T55" fmla="*/ 836 h 1004"/>
                <a:gd name="T56" fmla="*/ 155 w 783"/>
                <a:gd name="T57" fmla="*/ 776 h 1004"/>
                <a:gd name="T58" fmla="*/ 159 w 783"/>
                <a:gd name="T59" fmla="*/ 665 h 1004"/>
                <a:gd name="T60" fmla="*/ 188 w 783"/>
                <a:gd name="T61" fmla="*/ 507 h 1004"/>
                <a:gd name="T62" fmla="*/ 234 w 783"/>
                <a:gd name="T63" fmla="*/ 341 h 1004"/>
                <a:gd name="T64" fmla="*/ 291 w 783"/>
                <a:gd name="T65" fmla="*/ 188 h 1004"/>
                <a:gd name="T66" fmla="*/ 345 w 783"/>
                <a:gd name="T67" fmla="*/ 81 h 1004"/>
                <a:gd name="T68" fmla="*/ 360 w 783"/>
                <a:gd name="T69" fmla="*/ 40 h 1004"/>
                <a:gd name="T70" fmla="*/ 354 w 783"/>
                <a:gd name="T71" fmla="*/ 15 h 1004"/>
                <a:gd name="T72" fmla="*/ 327 w 783"/>
                <a:gd name="T73" fmla="*/ 3 h 1004"/>
                <a:gd name="T74" fmla="*/ 291 w 783"/>
                <a:gd name="T75" fmla="*/ 0 h 1004"/>
                <a:gd name="T76" fmla="*/ 240 w 783"/>
                <a:gd name="T77" fmla="*/ 7 h 1004"/>
                <a:gd name="T78" fmla="*/ 203 w 783"/>
                <a:gd name="T79" fmla="*/ 25 h 1004"/>
                <a:gd name="T80" fmla="*/ 178 w 783"/>
                <a:gd name="T81" fmla="*/ 52 h 1004"/>
                <a:gd name="T82" fmla="*/ 135 w 783"/>
                <a:gd name="T83" fmla="*/ 146 h 1004"/>
                <a:gd name="T84" fmla="*/ 81 w 783"/>
                <a:gd name="T85" fmla="*/ 292 h 1004"/>
                <a:gd name="T86" fmla="*/ 34 w 783"/>
                <a:gd name="T87" fmla="*/ 458 h 1004"/>
                <a:gd name="T88" fmla="*/ 5 w 783"/>
                <a:gd name="T89" fmla="*/ 639 h 1004"/>
                <a:gd name="T90" fmla="*/ 1 w 783"/>
                <a:gd name="T91" fmla="*/ 756 h 1004"/>
                <a:gd name="T92" fmla="*/ 8 w 783"/>
                <a:gd name="T93" fmla="*/ 802 h 1004"/>
                <a:gd name="T94" fmla="*/ 25 w 783"/>
                <a:gd name="T95" fmla="*/ 845 h 1004"/>
                <a:gd name="T96" fmla="*/ 51 w 783"/>
                <a:gd name="T97" fmla="*/ 884 h 1004"/>
                <a:gd name="T98" fmla="*/ 91 w 783"/>
                <a:gd name="T99" fmla="*/ 923 h 1004"/>
                <a:gd name="T100" fmla="*/ 141 w 783"/>
                <a:gd name="T101" fmla="*/ 955 h 1004"/>
                <a:gd name="T102" fmla="*/ 189 w 783"/>
                <a:gd name="T103" fmla="*/ 975 h 1004"/>
                <a:gd name="T104" fmla="*/ 248 w 783"/>
                <a:gd name="T105" fmla="*/ 986 h 1004"/>
                <a:gd name="T106" fmla="*/ 294 w 783"/>
                <a:gd name="T107" fmla="*/ 979 h 1004"/>
                <a:gd name="T108" fmla="*/ 339 w 783"/>
                <a:gd name="T109" fmla="*/ 961 h 1004"/>
                <a:gd name="T110" fmla="*/ 426 w 783"/>
                <a:gd name="T111" fmla="*/ 901 h 1004"/>
                <a:gd name="T112" fmla="*/ 504 w 783"/>
                <a:gd name="T113" fmla="*/ 825 h 10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83" h="1004">
                  <a:moveTo>
                    <a:pt x="576" y="737"/>
                  </a:moveTo>
                  <a:lnTo>
                    <a:pt x="575" y="755"/>
                  </a:lnTo>
                  <a:lnTo>
                    <a:pt x="575" y="775"/>
                  </a:lnTo>
                  <a:lnTo>
                    <a:pt x="575" y="794"/>
                  </a:lnTo>
                  <a:lnTo>
                    <a:pt x="576" y="812"/>
                  </a:lnTo>
                  <a:lnTo>
                    <a:pt x="578" y="831"/>
                  </a:lnTo>
                  <a:lnTo>
                    <a:pt x="581" y="847"/>
                  </a:lnTo>
                  <a:lnTo>
                    <a:pt x="584" y="863"/>
                  </a:lnTo>
                  <a:lnTo>
                    <a:pt x="590" y="879"/>
                  </a:lnTo>
                  <a:lnTo>
                    <a:pt x="595" y="894"/>
                  </a:lnTo>
                  <a:lnTo>
                    <a:pt x="601" y="908"/>
                  </a:lnTo>
                  <a:lnTo>
                    <a:pt x="607" y="922"/>
                  </a:lnTo>
                  <a:lnTo>
                    <a:pt x="615" y="934"/>
                  </a:lnTo>
                  <a:lnTo>
                    <a:pt x="623" y="946"/>
                  </a:lnTo>
                  <a:lnTo>
                    <a:pt x="632" y="956"/>
                  </a:lnTo>
                  <a:lnTo>
                    <a:pt x="643" y="967"/>
                  </a:lnTo>
                  <a:lnTo>
                    <a:pt x="654" y="977"/>
                  </a:lnTo>
                  <a:lnTo>
                    <a:pt x="666" y="986"/>
                  </a:lnTo>
                  <a:lnTo>
                    <a:pt x="678" y="994"/>
                  </a:lnTo>
                  <a:lnTo>
                    <a:pt x="692" y="1000"/>
                  </a:lnTo>
                  <a:lnTo>
                    <a:pt x="699" y="1002"/>
                  </a:lnTo>
                  <a:lnTo>
                    <a:pt x="705" y="1003"/>
                  </a:lnTo>
                  <a:lnTo>
                    <a:pt x="712" y="1004"/>
                  </a:lnTo>
                  <a:lnTo>
                    <a:pt x="718" y="1004"/>
                  </a:lnTo>
                  <a:lnTo>
                    <a:pt x="724" y="1004"/>
                  </a:lnTo>
                  <a:lnTo>
                    <a:pt x="730" y="1003"/>
                  </a:lnTo>
                  <a:lnTo>
                    <a:pt x="735" y="1000"/>
                  </a:lnTo>
                  <a:lnTo>
                    <a:pt x="738" y="997"/>
                  </a:lnTo>
                  <a:lnTo>
                    <a:pt x="741" y="993"/>
                  </a:lnTo>
                  <a:lnTo>
                    <a:pt x="742" y="989"/>
                  </a:lnTo>
                  <a:lnTo>
                    <a:pt x="742" y="984"/>
                  </a:lnTo>
                  <a:lnTo>
                    <a:pt x="741" y="978"/>
                  </a:lnTo>
                  <a:lnTo>
                    <a:pt x="735" y="959"/>
                  </a:lnTo>
                  <a:lnTo>
                    <a:pt x="732" y="941"/>
                  </a:lnTo>
                  <a:lnTo>
                    <a:pt x="729" y="922"/>
                  </a:lnTo>
                  <a:lnTo>
                    <a:pt x="727" y="902"/>
                  </a:lnTo>
                  <a:lnTo>
                    <a:pt x="726" y="883"/>
                  </a:lnTo>
                  <a:lnTo>
                    <a:pt x="726" y="861"/>
                  </a:lnTo>
                  <a:lnTo>
                    <a:pt x="726" y="841"/>
                  </a:lnTo>
                  <a:lnTo>
                    <a:pt x="728" y="819"/>
                  </a:lnTo>
                  <a:lnTo>
                    <a:pt x="730" y="798"/>
                  </a:lnTo>
                  <a:lnTo>
                    <a:pt x="733" y="776"/>
                  </a:lnTo>
                  <a:lnTo>
                    <a:pt x="736" y="754"/>
                  </a:lnTo>
                  <a:lnTo>
                    <a:pt x="742" y="732"/>
                  </a:lnTo>
                  <a:lnTo>
                    <a:pt x="747" y="709"/>
                  </a:lnTo>
                  <a:lnTo>
                    <a:pt x="753" y="687"/>
                  </a:lnTo>
                  <a:lnTo>
                    <a:pt x="760" y="664"/>
                  </a:lnTo>
                  <a:lnTo>
                    <a:pt x="767" y="642"/>
                  </a:lnTo>
                  <a:lnTo>
                    <a:pt x="775" y="620"/>
                  </a:lnTo>
                  <a:lnTo>
                    <a:pt x="780" y="600"/>
                  </a:lnTo>
                  <a:lnTo>
                    <a:pt x="782" y="591"/>
                  </a:lnTo>
                  <a:lnTo>
                    <a:pt x="783" y="583"/>
                  </a:lnTo>
                  <a:lnTo>
                    <a:pt x="783" y="573"/>
                  </a:lnTo>
                  <a:lnTo>
                    <a:pt x="783" y="565"/>
                  </a:lnTo>
                  <a:lnTo>
                    <a:pt x="781" y="558"/>
                  </a:lnTo>
                  <a:lnTo>
                    <a:pt x="779" y="550"/>
                  </a:lnTo>
                  <a:lnTo>
                    <a:pt x="775" y="543"/>
                  </a:lnTo>
                  <a:lnTo>
                    <a:pt x="770" y="536"/>
                  </a:lnTo>
                  <a:lnTo>
                    <a:pt x="764" y="530"/>
                  </a:lnTo>
                  <a:lnTo>
                    <a:pt x="756" y="522"/>
                  </a:lnTo>
                  <a:lnTo>
                    <a:pt x="747" y="515"/>
                  </a:lnTo>
                  <a:lnTo>
                    <a:pt x="735" y="509"/>
                  </a:lnTo>
                  <a:lnTo>
                    <a:pt x="718" y="500"/>
                  </a:lnTo>
                  <a:lnTo>
                    <a:pt x="702" y="494"/>
                  </a:lnTo>
                  <a:lnTo>
                    <a:pt x="695" y="492"/>
                  </a:lnTo>
                  <a:lnTo>
                    <a:pt x="687" y="490"/>
                  </a:lnTo>
                  <a:lnTo>
                    <a:pt x="680" y="489"/>
                  </a:lnTo>
                  <a:lnTo>
                    <a:pt x="674" y="489"/>
                  </a:lnTo>
                  <a:lnTo>
                    <a:pt x="667" y="489"/>
                  </a:lnTo>
                  <a:lnTo>
                    <a:pt x="662" y="490"/>
                  </a:lnTo>
                  <a:lnTo>
                    <a:pt x="656" y="491"/>
                  </a:lnTo>
                  <a:lnTo>
                    <a:pt x="651" y="493"/>
                  </a:lnTo>
                  <a:lnTo>
                    <a:pt x="646" y="496"/>
                  </a:lnTo>
                  <a:lnTo>
                    <a:pt x="642" y="499"/>
                  </a:lnTo>
                  <a:lnTo>
                    <a:pt x="637" y="503"/>
                  </a:lnTo>
                  <a:lnTo>
                    <a:pt x="633" y="508"/>
                  </a:lnTo>
                  <a:lnTo>
                    <a:pt x="630" y="512"/>
                  </a:lnTo>
                  <a:lnTo>
                    <a:pt x="627" y="516"/>
                  </a:lnTo>
                  <a:lnTo>
                    <a:pt x="624" y="522"/>
                  </a:lnTo>
                  <a:lnTo>
                    <a:pt x="603" y="553"/>
                  </a:lnTo>
                  <a:lnTo>
                    <a:pt x="579" y="584"/>
                  </a:lnTo>
                  <a:lnTo>
                    <a:pt x="556" y="615"/>
                  </a:lnTo>
                  <a:lnTo>
                    <a:pt x="531" y="646"/>
                  </a:lnTo>
                  <a:lnTo>
                    <a:pt x="506" y="676"/>
                  </a:lnTo>
                  <a:lnTo>
                    <a:pt x="480" y="704"/>
                  </a:lnTo>
                  <a:lnTo>
                    <a:pt x="454" y="733"/>
                  </a:lnTo>
                  <a:lnTo>
                    <a:pt x="427" y="758"/>
                  </a:lnTo>
                  <a:lnTo>
                    <a:pt x="401" y="783"/>
                  </a:lnTo>
                  <a:lnTo>
                    <a:pt x="374" y="805"/>
                  </a:lnTo>
                  <a:lnTo>
                    <a:pt x="362" y="815"/>
                  </a:lnTo>
                  <a:lnTo>
                    <a:pt x="349" y="825"/>
                  </a:lnTo>
                  <a:lnTo>
                    <a:pt x="336" y="834"/>
                  </a:lnTo>
                  <a:lnTo>
                    <a:pt x="323" y="841"/>
                  </a:lnTo>
                  <a:lnTo>
                    <a:pt x="310" y="848"/>
                  </a:lnTo>
                  <a:lnTo>
                    <a:pt x="298" y="855"/>
                  </a:lnTo>
                  <a:lnTo>
                    <a:pt x="286" y="860"/>
                  </a:lnTo>
                  <a:lnTo>
                    <a:pt x="273" y="865"/>
                  </a:lnTo>
                  <a:lnTo>
                    <a:pt x="262" y="868"/>
                  </a:lnTo>
                  <a:lnTo>
                    <a:pt x="251" y="872"/>
                  </a:lnTo>
                  <a:lnTo>
                    <a:pt x="240" y="873"/>
                  </a:lnTo>
                  <a:lnTo>
                    <a:pt x="228" y="874"/>
                  </a:lnTo>
                  <a:lnTo>
                    <a:pt x="221" y="874"/>
                  </a:lnTo>
                  <a:lnTo>
                    <a:pt x="215" y="873"/>
                  </a:lnTo>
                  <a:lnTo>
                    <a:pt x="209" y="871"/>
                  </a:lnTo>
                  <a:lnTo>
                    <a:pt x="203" y="868"/>
                  </a:lnTo>
                  <a:lnTo>
                    <a:pt x="198" y="865"/>
                  </a:lnTo>
                  <a:lnTo>
                    <a:pt x="193" y="862"/>
                  </a:lnTo>
                  <a:lnTo>
                    <a:pt x="188" y="858"/>
                  </a:lnTo>
                  <a:lnTo>
                    <a:pt x="183" y="853"/>
                  </a:lnTo>
                  <a:lnTo>
                    <a:pt x="178" y="848"/>
                  </a:lnTo>
                  <a:lnTo>
                    <a:pt x="174" y="843"/>
                  </a:lnTo>
                  <a:lnTo>
                    <a:pt x="170" y="836"/>
                  </a:lnTo>
                  <a:lnTo>
                    <a:pt x="167" y="830"/>
                  </a:lnTo>
                  <a:lnTo>
                    <a:pt x="162" y="813"/>
                  </a:lnTo>
                  <a:lnTo>
                    <a:pt x="158" y="796"/>
                  </a:lnTo>
                  <a:lnTo>
                    <a:pt x="155" y="776"/>
                  </a:lnTo>
                  <a:lnTo>
                    <a:pt x="154" y="753"/>
                  </a:lnTo>
                  <a:lnTo>
                    <a:pt x="154" y="729"/>
                  </a:lnTo>
                  <a:lnTo>
                    <a:pt x="155" y="702"/>
                  </a:lnTo>
                  <a:lnTo>
                    <a:pt x="159" y="665"/>
                  </a:lnTo>
                  <a:lnTo>
                    <a:pt x="164" y="628"/>
                  </a:lnTo>
                  <a:lnTo>
                    <a:pt x="170" y="589"/>
                  </a:lnTo>
                  <a:lnTo>
                    <a:pt x="178" y="548"/>
                  </a:lnTo>
                  <a:lnTo>
                    <a:pt x="188" y="507"/>
                  </a:lnTo>
                  <a:lnTo>
                    <a:pt x="197" y="465"/>
                  </a:lnTo>
                  <a:lnTo>
                    <a:pt x="208" y="423"/>
                  </a:lnTo>
                  <a:lnTo>
                    <a:pt x="220" y="382"/>
                  </a:lnTo>
                  <a:lnTo>
                    <a:pt x="234" y="341"/>
                  </a:lnTo>
                  <a:lnTo>
                    <a:pt x="247" y="301"/>
                  </a:lnTo>
                  <a:lnTo>
                    <a:pt x="261" y="261"/>
                  </a:lnTo>
                  <a:lnTo>
                    <a:pt x="275" y="223"/>
                  </a:lnTo>
                  <a:lnTo>
                    <a:pt x="291" y="188"/>
                  </a:lnTo>
                  <a:lnTo>
                    <a:pt x="306" y="154"/>
                  </a:lnTo>
                  <a:lnTo>
                    <a:pt x="322" y="122"/>
                  </a:lnTo>
                  <a:lnTo>
                    <a:pt x="338" y="94"/>
                  </a:lnTo>
                  <a:lnTo>
                    <a:pt x="345" y="81"/>
                  </a:lnTo>
                  <a:lnTo>
                    <a:pt x="351" y="68"/>
                  </a:lnTo>
                  <a:lnTo>
                    <a:pt x="356" y="58"/>
                  </a:lnTo>
                  <a:lnTo>
                    <a:pt x="359" y="48"/>
                  </a:lnTo>
                  <a:lnTo>
                    <a:pt x="360" y="40"/>
                  </a:lnTo>
                  <a:lnTo>
                    <a:pt x="361" y="33"/>
                  </a:lnTo>
                  <a:lnTo>
                    <a:pt x="360" y="25"/>
                  </a:lnTo>
                  <a:lnTo>
                    <a:pt x="357" y="20"/>
                  </a:lnTo>
                  <a:lnTo>
                    <a:pt x="354" y="15"/>
                  </a:lnTo>
                  <a:lnTo>
                    <a:pt x="350" y="11"/>
                  </a:lnTo>
                  <a:lnTo>
                    <a:pt x="344" y="8"/>
                  </a:lnTo>
                  <a:lnTo>
                    <a:pt x="337" y="5"/>
                  </a:lnTo>
                  <a:lnTo>
                    <a:pt x="327" y="3"/>
                  </a:lnTo>
                  <a:lnTo>
                    <a:pt x="318" y="1"/>
                  </a:lnTo>
                  <a:lnTo>
                    <a:pt x="307" y="0"/>
                  </a:lnTo>
                  <a:lnTo>
                    <a:pt x="295" y="0"/>
                  </a:lnTo>
                  <a:lnTo>
                    <a:pt x="291" y="0"/>
                  </a:lnTo>
                  <a:lnTo>
                    <a:pt x="276" y="0"/>
                  </a:lnTo>
                  <a:lnTo>
                    <a:pt x="263" y="2"/>
                  </a:lnTo>
                  <a:lnTo>
                    <a:pt x="251" y="4"/>
                  </a:lnTo>
                  <a:lnTo>
                    <a:pt x="240" y="7"/>
                  </a:lnTo>
                  <a:lnTo>
                    <a:pt x="229" y="11"/>
                  </a:lnTo>
                  <a:lnTo>
                    <a:pt x="219" y="15"/>
                  </a:lnTo>
                  <a:lnTo>
                    <a:pt x="211" y="20"/>
                  </a:lnTo>
                  <a:lnTo>
                    <a:pt x="203" y="25"/>
                  </a:lnTo>
                  <a:lnTo>
                    <a:pt x="196" y="32"/>
                  </a:lnTo>
                  <a:lnTo>
                    <a:pt x="190" y="39"/>
                  </a:lnTo>
                  <a:lnTo>
                    <a:pt x="184" y="45"/>
                  </a:lnTo>
                  <a:lnTo>
                    <a:pt x="178" y="52"/>
                  </a:lnTo>
                  <a:lnTo>
                    <a:pt x="169" y="67"/>
                  </a:lnTo>
                  <a:lnTo>
                    <a:pt x="162" y="83"/>
                  </a:lnTo>
                  <a:lnTo>
                    <a:pt x="148" y="113"/>
                  </a:lnTo>
                  <a:lnTo>
                    <a:pt x="135" y="146"/>
                  </a:lnTo>
                  <a:lnTo>
                    <a:pt x="120" y="180"/>
                  </a:lnTo>
                  <a:lnTo>
                    <a:pt x="107" y="215"/>
                  </a:lnTo>
                  <a:lnTo>
                    <a:pt x="94" y="253"/>
                  </a:lnTo>
                  <a:lnTo>
                    <a:pt x="81" y="292"/>
                  </a:lnTo>
                  <a:lnTo>
                    <a:pt x="67" y="332"/>
                  </a:lnTo>
                  <a:lnTo>
                    <a:pt x="56" y="372"/>
                  </a:lnTo>
                  <a:lnTo>
                    <a:pt x="45" y="414"/>
                  </a:lnTo>
                  <a:lnTo>
                    <a:pt x="34" y="458"/>
                  </a:lnTo>
                  <a:lnTo>
                    <a:pt x="24" y="502"/>
                  </a:lnTo>
                  <a:lnTo>
                    <a:pt x="17" y="547"/>
                  </a:lnTo>
                  <a:lnTo>
                    <a:pt x="10" y="593"/>
                  </a:lnTo>
                  <a:lnTo>
                    <a:pt x="5" y="639"/>
                  </a:lnTo>
                  <a:lnTo>
                    <a:pt x="2" y="685"/>
                  </a:lnTo>
                  <a:lnTo>
                    <a:pt x="0" y="732"/>
                  </a:lnTo>
                  <a:lnTo>
                    <a:pt x="0" y="744"/>
                  </a:lnTo>
                  <a:lnTo>
                    <a:pt x="1" y="756"/>
                  </a:lnTo>
                  <a:lnTo>
                    <a:pt x="2" y="768"/>
                  </a:lnTo>
                  <a:lnTo>
                    <a:pt x="3" y="780"/>
                  </a:lnTo>
                  <a:lnTo>
                    <a:pt x="6" y="791"/>
                  </a:lnTo>
                  <a:lnTo>
                    <a:pt x="8" y="802"/>
                  </a:lnTo>
                  <a:lnTo>
                    <a:pt x="12" y="813"/>
                  </a:lnTo>
                  <a:lnTo>
                    <a:pt x="16" y="825"/>
                  </a:lnTo>
                  <a:lnTo>
                    <a:pt x="20" y="835"/>
                  </a:lnTo>
                  <a:lnTo>
                    <a:pt x="25" y="845"/>
                  </a:lnTo>
                  <a:lnTo>
                    <a:pt x="31" y="855"/>
                  </a:lnTo>
                  <a:lnTo>
                    <a:pt x="37" y="864"/>
                  </a:lnTo>
                  <a:lnTo>
                    <a:pt x="44" y="875"/>
                  </a:lnTo>
                  <a:lnTo>
                    <a:pt x="51" y="884"/>
                  </a:lnTo>
                  <a:lnTo>
                    <a:pt x="58" y="893"/>
                  </a:lnTo>
                  <a:lnTo>
                    <a:pt x="66" y="901"/>
                  </a:lnTo>
                  <a:lnTo>
                    <a:pt x="79" y="912"/>
                  </a:lnTo>
                  <a:lnTo>
                    <a:pt x="91" y="923"/>
                  </a:lnTo>
                  <a:lnTo>
                    <a:pt x="103" y="932"/>
                  </a:lnTo>
                  <a:lnTo>
                    <a:pt x="115" y="941"/>
                  </a:lnTo>
                  <a:lnTo>
                    <a:pt x="127" y="948"/>
                  </a:lnTo>
                  <a:lnTo>
                    <a:pt x="141" y="955"/>
                  </a:lnTo>
                  <a:lnTo>
                    <a:pt x="153" y="961"/>
                  </a:lnTo>
                  <a:lnTo>
                    <a:pt x="165" y="966"/>
                  </a:lnTo>
                  <a:lnTo>
                    <a:pt x="177" y="972"/>
                  </a:lnTo>
                  <a:lnTo>
                    <a:pt x="189" y="975"/>
                  </a:lnTo>
                  <a:lnTo>
                    <a:pt x="201" y="979"/>
                  </a:lnTo>
                  <a:lnTo>
                    <a:pt x="211" y="981"/>
                  </a:lnTo>
                  <a:lnTo>
                    <a:pt x="232" y="985"/>
                  </a:lnTo>
                  <a:lnTo>
                    <a:pt x="248" y="986"/>
                  </a:lnTo>
                  <a:lnTo>
                    <a:pt x="259" y="985"/>
                  </a:lnTo>
                  <a:lnTo>
                    <a:pt x="270" y="984"/>
                  </a:lnTo>
                  <a:lnTo>
                    <a:pt x="282" y="982"/>
                  </a:lnTo>
                  <a:lnTo>
                    <a:pt x="294" y="979"/>
                  </a:lnTo>
                  <a:lnTo>
                    <a:pt x="305" y="976"/>
                  </a:lnTo>
                  <a:lnTo>
                    <a:pt x="316" y="972"/>
                  </a:lnTo>
                  <a:lnTo>
                    <a:pt x="327" y="966"/>
                  </a:lnTo>
                  <a:lnTo>
                    <a:pt x="339" y="961"/>
                  </a:lnTo>
                  <a:lnTo>
                    <a:pt x="361" y="949"/>
                  </a:lnTo>
                  <a:lnTo>
                    <a:pt x="384" y="935"/>
                  </a:lnTo>
                  <a:lnTo>
                    <a:pt x="405" y="918"/>
                  </a:lnTo>
                  <a:lnTo>
                    <a:pt x="426" y="901"/>
                  </a:lnTo>
                  <a:lnTo>
                    <a:pt x="448" y="883"/>
                  </a:lnTo>
                  <a:lnTo>
                    <a:pt x="467" y="863"/>
                  </a:lnTo>
                  <a:lnTo>
                    <a:pt x="487" y="844"/>
                  </a:lnTo>
                  <a:lnTo>
                    <a:pt x="504" y="825"/>
                  </a:lnTo>
                  <a:lnTo>
                    <a:pt x="538" y="786"/>
                  </a:lnTo>
                  <a:lnTo>
                    <a:pt x="565" y="751"/>
                  </a:lnTo>
                  <a:lnTo>
                    <a:pt x="576" y="73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1" name="Freeform 38"/>
            <p:cNvSpPr>
              <a:spLocks/>
            </p:cNvSpPr>
            <p:nvPr userDrawn="1"/>
          </p:nvSpPr>
          <p:spPr bwMode="auto">
            <a:xfrm>
              <a:off x="6357" y="558"/>
              <a:ext cx="28" cy="94"/>
            </a:xfrm>
            <a:custGeom>
              <a:avLst/>
              <a:gdLst>
                <a:gd name="T0" fmla="*/ 211 w 340"/>
                <a:gd name="T1" fmla="*/ 0 h 1127"/>
                <a:gd name="T2" fmla="*/ 198 w 340"/>
                <a:gd name="T3" fmla="*/ 2 h 1127"/>
                <a:gd name="T4" fmla="*/ 187 w 340"/>
                <a:gd name="T5" fmla="*/ 6 h 1127"/>
                <a:gd name="T6" fmla="*/ 178 w 340"/>
                <a:gd name="T7" fmla="*/ 12 h 1127"/>
                <a:gd name="T8" fmla="*/ 167 w 340"/>
                <a:gd name="T9" fmla="*/ 24 h 1127"/>
                <a:gd name="T10" fmla="*/ 158 w 340"/>
                <a:gd name="T11" fmla="*/ 41 h 1127"/>
                <a:gd name="T12" fmla="*/ 151 w 340"/>
                <a:gd name="T13" fmla="*/ 66 h 1127"/>
                <a:gd name="T14" fmla="*/ 144 w 340"/>
                <a:gd name="T15" fmla="*/ 103 h 1127"/>
                <a:gd name="T16" fmla="*/ 134 w 340"/>
                <a:gd name="T17" fmla="*/ 147 h 1127"/>
                <a:gd name="T18" fmla="*/ 123 w 340"/>
                <a:gd name="T19" fmla="*/ 195 h 1127"/>
                <a:gd name="T20" fmla="*/ 101 w 340"/>
                <a:gd name="T21" fmla="*/ 292 h 1127"/>
                <a:gd name="T22" fmla="*/ 67 w 340"/>
                <a:gd name="T23" fmla="*/ 447 h 1127"/>
                <a:gd name="T24" fmla="*/ 35 w 340"/>
                <a:gd name="T25" fmla="*/ 608 h 1127"/>
                <a:gd name="T26" fmla="*/ 16 w 340"/>
                <a:gd name="T27" fmla="*/ 725 h 1127"/>
                <a:gd name="T28" fmla="*/ 7 w 340"/>
                <a:gd name="T29" fmla="*/ 797 h 1127"/>
                <a:gd name="T30" fmla="*/ 1 w 340"/>
                <a:gd name="T31" fmla="*/ 872 h 1127"/>
                <a:gd name="T32" fmla="*/ 0 w 340"/>
                <a:gd name="T33" fmla="*/ 941 h 1127"/>
                <a:gd name="T34" fmla="*/ 5 w 340"/>
                <a:gd name="T35" fmla="*/ 996 h 1127"/>
                <a:gd name="T36" fmla="*/ 14 w 340"/>
                <a:gd name="T37" fmla="*/ 1039 h 1127"/>
                <a:gd name="T38" fmla="*/ 27 w 340"/>
                <a:gd name="T39" fmla="*/ 1071 h 1127"/>
                <a:gd name="T40" fmla="*/ 43 w 340"/>
                <a:gd name="T41" fmla="*/ 1094 h 1127"/>
                <a:gd name="T42" fmla="*/ 62 w 340"/>
                <a:gd name="T43" fmla="*/ 1111 h 1127"/>
                <a:gd name="T44" fmla="*/ 82 w 340"/>
                <a:gd name="T45" fmla="*/ 1121 h 1127"/>
                <a:gd name="T46" fmla="*/ 102 w 340"/>
                <a:gd name="T47" fmla="*/ 1127 h 1127"/>
                <a:gd name="T48" fmla="*/ 116 w 340"/>
                <a:gd name="T49" fmla="*/ 1127 h 1127"/>
                <a:gd name="T50" fmla="*/ 122 w 340"/>
                <a:gd name="T51" fmla="*/ 1124 h 1127"/>
                <a:gd name="T52" fmla="*/ 129 w 340"/>
                <a:gd name="T53" fmla="*/ 1116 h 1127"/>
                <a:gd name="T54" fmla="*/ 134 w 340"/>
                <a:gd name="T55" fmla="*/ 1099 h 1127"/>
                <a:gd name="T56" fmla="*/ 134 w 340"/>
                <a:gd name="T57" fmla="*/ 1070 h 1127"/>
                <a:gd name="T58" fmla="*/ 137 w 340"/>
                <a:gd name="T59" fmla="*/ 1026 h 1127"/>
                <a:gd name="T60" fmla="*/ 145 w 340"/>
                <a:gd name="T61" fmla="*/ 948 h 1127"/>
                <a:gd name="T62" fmla="*/ 165 w 340"/>
                <a:gd name="T63" fmla="*/ 829 h 1127"/>
                <a:gd name="T64" fmla="*/ 191 w 340"/>
                <a:gd name="T65" fmla="*/ 696 h 1127"/>
                <a:gd name="T66" fmla="*/ 222 w 340"/>
                <a:gd name="T67" fmla="*/ 559 h 1127"/>
                <a:gd name="T68" fmla="*/ 253 w 340"/>
                <a:gd name="T69" fmla="*/ 425 h 1127"/>
                <a:gd name="T70" fmla="*/ 286 w 340"/>
                <a:gd name="T71" fmla="*/ 301 h 1127"/>
                <a:gd name="T72" fmla="*/ 316 w 340"/>
                <a:gd name="T73" fmla="*/ 195 h 1127"/>
                <a:gd name="T74" fmla="*/ 333 w 340"/>
                <a:gd name="T75" fmla="*/ 136 h 1127"/>
                <a:gd name="T76" fmla="*/ 338 w 340"/>
                <a:gd name="T77" fmla="*/ 110 h 1127"/>
                <a:gd name="T78" fmla="*/ 340 w 340"/>
                <a:gd name="T79" fmla="*/ 88 h 1127"/>
                <a:gd name="T80" fmla="*/ 337 w 340"/>
                <a:gd name="T81" fmla="*/ 70 h 1127"/>
                <a:gd name="T82" fmla="*/ 331 w 340"/>
                <a:gd name="T83" fmla="*/ 55 h 1127"/>
                <a:gd name="T84" fmla="*/ 321 w 340"/>
                <a:gd name="T85" fmla="*/ 42 h 1127"/>
                <a:gd name="T86" fmla="*/ 307 w 340"/>
                <a:gd name="T87" fmla="*/ 31 h 1127"/>
                <a:gd name="T88" fmla="*/ 292 w 340"/>
                <a:gd name="T89" fmla="*/ 22 h 1127"/>
                <a:gd name="T90" fmla="*/ 266 w 340"/>
                <a:gd name="T91" fmla="*/ 9 h 1127"/>
                <a:gd name="T92" fmla="*/ 233 w 340"/>
                <a:gd name="T93" fmla="*/ 1 h 1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0" h="1127">
                  <a:moveTo>
                    <a:pt x="218" y="0"/>
                  </a:moveTo>
                  <a:lnTo>
                    <a:pt x="211" y="0"/>
                  </a:lnTo>
                  <a:lnTo>
                    <a:pt x="204" y="1"/>
                  </a:lnTo>
                  <a:lnTo>
                    <a:pt x="198" y="2"/>
                  </a:lnTo>
                  <a:lnTo>
                    <a:pt x="192" y="4"/>
                  </a:lnTo>
                  <a:lnTo>
                    <a:pt x="187" y="6"/>
                  </a:lnTo>
                  <a:lnTo>
                    <a:pt x="182" y="9"/>
                  </a:lnTo>
                  <a:lnTo>
                    <a:pt x="178" y="12"/>
                  </a:lnTo>
                  <a:lnTo>
                    <a:pt x="174" y="16"/>
                  </a:lnTo>
                  <a:lnTo>
                    <a:pt x="167" y="24"/>
                  </a:lnTo>
                  <a:lnTo>
                    <a:pt x="162" y="33"/>
                  </a:lnTo>
                  <a:lnTo>
                    <a:pt x="158" y="41"/>
                  </a:lnTo>
                  <a:lnTo>
                    <a:pt x="154" y="51"/>
                  </a:lnTo>
                  <a:lnTo>
                    <a:pt x="151" y="66"/>
                  </a:lnTo>
                  <a:lnTo>
                    <a:pt x="148" y="84"/>
                  </a:lnTo>
                  <a:lnTo>
                    <a:pt x="144" y="103"/>
                  </a:lnTo>
                  <a:lnTo>
                    <a:pt x="139" y="125"/>
                  </a:lnTo>
                  <a:lnTo>
                    <a:pt x="134" y="147"/>
                  </a:lnTo>
                  <a:lnTo>
                    <a:pt x="129" y="171"/>
                  </a:lnTo>
                  <a:lnTo>
                    <a:pt x="123" y="195"/>
                  </a:lnTo>
                  <a:lnTo>
                    <a:pt x="118" y="222"/>
                  </a:lnTo>
                  <a:lnTo>
                    <a:pt x="101" y="292"/>
                  </a:lnTo>
                  <a:lnTo>
                    <a:pt x="84" y="369"/>
                  </a:lnTo>
                  <a:lnTo>
                    <a:pt x="67" y="447"/>
                  </a:lnTo>
                  <a:lnTo>
                    <a:pt x="50" y="528"/>
                  </a:lnTo>
                  <a:lnTo>
                    <a:pt x="35" y="608"/>
                  </a:lnTo>
                  <a:lnTo>
                    <a:pt x="22" y="687"/>
                  </a:lnTo>
                  <a:lnTo>
                    <a:pt x="16" y="725"/>
                  </a:lnTo>
                  <a:lnTo>
                    <a:pt x="11" y="762"/>
                  </a:lnTo>
                  <a:lnTo>
                    <a:pt x="7" y="797"/>
                  </a:lnTo>
                  <a:lnTo>
                    <a:pt x="3" y="832"/>
                  </a:lnTo>
                  <a:lnTo>
                    <a:pt x="1" y="872"/>
                  </a:lnTo>
                  <a:lnTo>
                    <a:pt x="0" y="909"/>
                  </a:lnTo>
                  <a:lnTo>
                    <a:pt x="0" y="941"/>
                  </a:lnTo>
                  <a:lnTo>
                    <a:pt x="1" y="971"/>
                  </a:lnTo>
                  <a:lnTo>
                    <a:pt x="5" y="996"/>
                  </a:lnTo>
                  <a:lnTo>
                    <a:pt x="9" y="1019"/>
                  </a:lnTo>
                  <a:lnTo>
                    <a:pt x="14" y="1039"/>
                  </a:lnTo>
                  <a:lnTo>
                    <a:pt x="20" y="1057"/>
                  </a:lnTo>
                  <a:lnTo>
                    <a:pt x="27" y="1071"/>
                  </a:lnTo>
                  <a:lnTo>
                    <a:pt x="35" y="1084"/>
                  </a:lnTo>
                  <a:lnTo>
                    <a:pt x="43" y="1094"/>
                  </a:lnTo>
                  <a:lnTo>
                    <a:pt x="52" y="1103"/>
                  </a:lnTo>
                  <a:lnTo>
                    <a:pt x="62" y="1111"/>
                  </a:lnTo>
                  <a:lnTo>
                    <a:pt x="72" y="1117"/>
                  </a:lnTo>
                  <a:lnTo>
                    <a:pt x="82" y="1121"/>
                  </a:lnTo>
                  <a:lnTo>
                    <a:pt x="93" y="1125"/>
                  </a:lnTo>
                  <a:lnTo>
                    <a:pt x="102" y="1127"/>
                  </a:lnTo>
                  <a:lnTo>
                    <a:pt x="112" y="1127"/>
                  </a:lnTo>
                  <a:lnTo>
                    <a:pt x="116" y="1127"/>
                  </a:lnTo>
                  <a:lnTo>
                    <a:pt x="119" y="1125"/>
                  </a:lnTo>
                  <a:lnTo>
                    <a:pt x="122" y="1124"/>
                  </a:lnTo>
                  <a:lnTo>
                    <a:pt x="125" y="1121"/>
                  </a:lnTo>
                  <a:lnTo>
                    <a:pt x="129" y="1116"/>
                  </a:lnTo>
                  <a:lnTo>
                    <a:pt x="132" y="1109"/>
                  </a:lnTo>
                  <a:lnTo>
                    <a:pt x="134" y="1099"/>
                  </a:lnTo>
                  <a:lnTo>
                    <a:pt x="134" y="1089"/>
                  </a:lnTo>
                  <a:lnTo>
                    <a:pt x="134" y="1070"/>
                  </a:lnTo>
                  <a:lnTo>
                    <a:pt x="135" y="1048"/>
                  </a:lnTo>
                  <a:lnTo>
                    <a:pt x="137" y="1026"/>
                  </a:lnTo>
                  <a:lnTo>
                    <a:pt x="139" y="1001"/>
                  </a:lnTo>
                  <a:lnTo>
                    <a:pt x="145" y="948"/>
                  </a:lnTo>
                  <a:lnTo>
                    <a:pt x="154" y="891"/>
                  </a:lnTo>
                  <a:lnTo>
                    <a:pt x="165" y="829"/>
                  </a:lnTo>
                  <a:lnTo>
                    <a:pt x="177" y="764"/>
                  </a:lnTo>
                  <a:lnTo>
                    <a:pt x="191" y="696"/>
                  </a:lnTo>
                  <a:lnTo>
                    <a:pt x="205" y="628"/>
                  </a:lnTo>
                  <a:lnTo>
                    <a:pt x="222" y="559"/>
                  </a:lnTo>
                  <a:lnTo>
                    <a:pt x="237" y="492"/>
                  </a:lnTo>
                  <a:lnTo>
                    <a:pt x="253" y="425"/>
                  </a:lnTo>
                  <a:lnTo>
                    <a:pt x="270" y="361"/>
                  </a:lnTo>
                  <a:lnTo>
                    <a:pt x="286" y="301"/>
                  </a:lnTo>
                  <a:lnTo>
                    <a:pt x="301" y="245"/>
                  </a:lnTo>
                  <a:lnTo>
                    <a:pt x="316" y="195"/>
                  </a:lnTo>
                  <a:lnTo>
                    <a:pt x="329" y="150"/>
                  </a:lnTo>
                  <a:lnTo>
                    <a:pt x="333" y="136"/>
                  </a:lnTo>
                  <a:lnTo>
                    <a:pt x="336" y="123"/>
                  </a:lnTo>
                  <a:lnTo>
                    <a:pt x="338" y="110"/>
                  </a:lnTo>
                  <a:lnTo>
                    <a:pt x="339" y="98"/>
                  </a:lnTo>
                  <a:lnTo>
                    <a:pt x="340" y="88"/>
                  </a:lnTo>
                  <a:lnTo>
                    <a:pt x="339" y="79"/>
                  </a:lnTo>
                  <a:lnTo>
                    <a:pt x="337" y="70"/>
                  </a:lnTo>
                  <a:lnTo>
                    <a:pt x="334" y="62"/>
                  </a:lnTo>
                  <a:lnTo>
                    <a:pt x="331" y="55"/>
                  </a:lnTo>
                  <a:lnTo>
                    <a:pt x="326" y="48"/>
                  </a:lnTo>
                  <a:lnTo>
                    <a:pt x="321" y="42"/>
                  </a:lnTo>
                  <a:lnTo>
                    <a:pt x="315" y="37"/>
                  </a:lnTo>
                  <a:lnTo>
                    <a:pt x="307" y="31"/>
                  </a:lnTo>
                  <a:lnTo>
                    <a:pt x="300" y="27"/>
                  </a:lnTo>
                  <a:lnTo>
                    <a:pt x="292" y="22"/>
                  </a:lnTo>
                  <a:lnTo>
                    <a:pt x="283" y="17"/>
                  </a:lnTo>
                  <a:lnTo>
                    <a:pt x="266" y="9"/>
                  </a:lnTo>
                  <a:lnTo>
                    <a:pt x="248" y="4"/>
                  </a:lnTo>
                  <a:lnTo>
                    <a:pt x="233" y="1"/>
                  </a:lnTo>
                  <a:lnTo>
                    <a:pt x="218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2" name="Freeform 39"/>
            <p:cNvSpPr>
              <a:spLocks/>
            </p:cNvSpPr>
            <p:nvPr userDrawn="1"/>
          </p:nvSpPr>
          <p:spPr bwMode="auto">
            <a:xfrm>
              <a:off x="7003" y="607"/>
              <a:ext cx="58" cy="42"/>
            </a:xfrm>
            <a:custGeom>
              <a:avLst/>
              <a:gdLst>
                <a:gd name="T0" fmla="*/ 50 w 695"/>
                <a:gd name="T1" fmla="*/ 38 h 503"/>
                <a:gd name="T2" fmla="*/ 37 w 695"/>
                <a:gd name="T3" fmla="*/ 44 h 503"/>
                <a:gd name="T4" fmla="*/ 31 w 695"/>
                <a:gd name="T5" fmla="*/ 54 h 503"/>
                <a:gd name="T6" fmla="*/ 30 w 695"/>
                <a:gd name="T7" fmla="*/ 70 h 503"/>
                <a:gd name="T8" fmla="*/ 37 w 695"/>
                <a:gd name="T9" fmla="*/ 108 h 503"/>
                <a:gd name="T10" fmla="*/ 39 w 695"/>
                <a:gd name="T11" fmla="*/ 159 h 503"/>
                <a:gd name="T12" fmla="*/ 35 w 695"/>
                <a:gd name="T13" fmla="*/ 214 h 503"/>
                <a:gd name="T14" fmla="*/ 17 w 695"/>
                <a:gd name="T15" fmla="*/ 323 h 503"/>
                <a:gd name="T16" fmla="*/ 4 w 695"/>
                <a:gd name="T17" fmla="*/ 384 h 503"/>
                <a:gd name="T18" fmla="*/ 0 w 695"/>
                <a:gd name="T19" fmla="*/ 414 h 503"/>
                <a:gd name="T20" fmla="*/ 6 w 695"/>
                <a:gd name="T21" fmla="*/ 438 h 503"/>
                <a:gd name="T22" fmla="*/ 17 w 695"/>
                <a:gd name="T23" fmla="*/ 455 h 503"/>
                <a:gd name="T24" fmla="*/ 32 w 695"/>
                <a:gd name="T25" fmla="*/ 470 h 503"/>
                <a:gd name="T26" fmla="*/ 74 w 695"/>
                <a:gd name="T27" fmla="*/ 494 h 503"/>
                <a:gd name="T28" fmla="*/ 114 w 695"/>
                <a:gd name="T29" fmla="*/ 503 h 503"/>
                <a:gd name="T30" fmla="*/ 134 w 695"/>
                <a:gd name="T31" fmla="*/ 500 h 503"/>
                <a:gd name="T32" fmla="*/ 152 w 695"/>
                <a:gd name="T33" fmla="*/ 486 h 503"/>
                <a:gd name="T34" fmla="*/ 171 w 695"/>
                <a:gd name="T35" fmla="*/ 441 h 503"/>
                <a:gd name="T36" fmla="*/ 212 w 695"/>
                <a:gd name="T37" fmla="*/ 349 h 503"/>
                <a:gd name="T38" fmla="*/ 241 w 695"/>
                <a:gd name="T39" fmla="*/ 301 h 503"/>
                <a:gd name="T40" fmla="*/ 278 w 695"/>
                <a:gd name="T41" fmla="*/ 253 h 503"/>
                <a:gd name="T42" fmla="*/ 322 w 695"/>
                <a:gd name="T43" fmla="*/ 208 h 503"/>
                <a:gd name="T44" fmla="*/ 374 w 695"/>
                <a:gd name="T45" fmla="*/ 167 h 503"/>
                <a:gd name="T46" fmla="*/ 435 w 695"/>
                <a:gd name="T47" fmla="*/ 131 h 503"/>
                <a:gd name="T48" fmla="*/ 505 w 695"/>
                <a:gd name="T49" fmla="*/ 102 h 503"/>
                <a:gd name="T50" fmla="*/ 585 w 695"/>
                <a:gd name="T51" fmla="*/ 82 h 503"/>
                <a:gd name="T52" fmla="*/ 677 w 695"/>
                <a:gd name="T53" fmla="*/ 72 h 503"/>
                <a:gd name="T54" fmla="*/ 686 w 695"/>
                <a:gd name="T55" fmla="*/ 69 h 503"/>
                <a:gd name="T56" fmla="*/ 692 w 695"/>
                <a:gd name="T57" fmla="*/ 62 h 503"/>
                <a:gd name="T58" fmla="*/ 695 w 695"/>
                <a:gd name="T59" fmla="*/ 51 h 503"/>
                <a:gd name="T60" fmla="*/ 690 w 695"/>
                <a:gd name="T61" fmla="*/ 34 h 503"/>
                <a:gd name="T62" fmla="*/ 674 w 695"/>
                <a:gd name="T63" fmla="*/ 18 h 503"/>
                <a:gd name="T64" fmla="*/ 648 w 695"/>
                <a:gd name="T65" fmla="*/ 8 h 503"/>
                <a:gd name="T66" fmla="*/ 604 w 695"/>
                <a:gd name="T67" fmla="*/ 1 h 503"/>
                <a:gd name="T68" fmla="*/ 536 w 695"/>
                <a:gd name="T69" fmla="*/ 2 h 503"/>
                <a:gd name="T70" fmla="*/ 469 w 695"/>
                <a:gd name="T71" fmla="*/ 13 h 503"/>
                <a:gd name="T72" fmla="*/ 397 w 695"/>
                <a:gd name="T73" fmla="*/ 33 h 503"/>
                <a:gd name="T74" fmla="*/ 328 w 695"/>
                <a:gd name="T75" fmla="*/ 60 h 503"/>
                <a:gd name="T76" fmla="*/ 262 w 695"/>
                <a:gd name="T77" fmla="*/ 94 h 503"/>
                <a:gd name="T78" fmla="*/ 214 w 695"/>
                <a:gd name="T79" fmla="*/ 124 h 503"/>
                <a:gd name="T80" fmla="*/ 200 w 695"/>
                <a:gd name="T81" fmla="*/ 101 h 503"/>
                <a:gd name="T82" fmla="*/ 160 w 695"/>
                <a:gd name="T83" fmla="*/ 66 h 503"/>
                <a:gd name="T84" fmla="*/ 124 w 695"/>
                <a:gd name="T85" fmla="*/ 46 h 503"/>
                <a:gd name="T86" fmla="*/ 96 w 695"/>
                <a:gd name="T87" fmla="*/ 38 h 503"/>
                <a:gd name="T88" fmla="*/ 71 w 695"/>
                <a:gd name="T89" fmla="*/ 35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695" h="503">
                  <a:moveTo>
                    <a:pt x="71" y="35"/>
                  </a:moveTo>
                  <a:lnTo>
                    <a:pt x="61" y="36"/>
                  </a:lnTo>
                  <a:lnTo>
                    <a:pt x="50" y="38"/>
                  </a:lnTo>
                  <a:lnTo>
                    <a:pt x="45" y="39"/>
                  </a:lnTo>
                  <a:lnTo>
                    <a:pt x="41" y="42"/>
                  </a:lnTo>
                  <a:lnTo>
                    <a:pt x="37" y="44"/>
                  </a:lnTo>
                  <a:lnTo>
                    <a:pt x="34" y="48"/>
                  </a:lnTo>
                  <a:lnTo>
                    <a:pt x="32" y="51"/>
                  </a:lnTo>
                  <a:lnTo>
                    <a:pt x="31" y="54"/>
                  </a:lnTo>
                  <a:lnTo>
                    <a:pt x="30" y="58"/>
                  </a:lnTo>
                  <a:lnTo>
                    <a:pt x="29" y="61"/>
                  </a:lnTo>
                  <a:lnTo>
                    <a:pt x="30" y="70"/>
                  </a:lnTo>
                  <a:lnTo>
                    <a:pt x="32" y="81"/>
                  </a:lnTo>
                  <a:lnTo>
                    <a:pt x="35" y="94"/>
                  </a:lnTo>
                  <a:lnTo>
                    <a:pt x="37" y="108"/>
                  </a:lnTo>
                  <a:lnTo>
                    <a:pt x="39" y="125"/>
                  </a:lnTo>
                  <a:lnTo>
                    <a:pt x="39" y="141"/>
                  </a:lnTo>
                  <a:lnTo>
                    <a:pt x="39" y="159"/>
                  </a:lnTo>
                  <a:lnTo>
                    <a:pt x="38" y="177"/>
                  </a:lnTo>
                  <a:lnTo>
                    <a:pt x="37" y="195"/>
                  </a:lnTo>
                  <a:lnTo>
                    <a:pt x="35" y="214"/>
                  </a:lnTo>
                  <a:lnTo>
                    <a:pt x="29" y="252"/>
                  </a:lnTo>
                  <a:lnTo>
                    <a:pt x="23" y="288"/>
                  </a:lnTo>
                  <a:lnTo>
                    <a:pt x="17" y="323"/>
                  </a:lnTo>
                  <a:lnTo>
                    <a:pt x="10" y="353"/>
                  </a:lnTo>
                  <a:lnTo>
                    <a:pt x="7" y="370"/>
                  </a:lnTo>
                  <a:lnTo>
                    <a:pt x="4" y="384"/>
                  </a:lnTo>
                  <a:lnTo>
                    <a:pt x="1" y="395"/>
                  </a:lnTo>
                  <a:lnTo>
                    <a:pt x="0" y="405"/>
                  </a:lnTo>
                  <a:lnTo>
                    <a:pt x="0" y="414"/>
                  </a:lnTo>
                  <a:lnTo>
                    <a:pt x="1" y="424"/>
                  </a:lnTo>
                  <a:lnTo>
                    <a:pt x="4" y="431"/>
                  </a:lnTo>
                  <a:lnTo>
                    <a:pt x="6" y="438"/>
                  </a:lnTo>
                  <a:lnTo>
                    <a:pt x="9" y="444"/>
                  </a:lnTo>
                  <a:lnTo>
                    <a:pt x="13" y="450"/>
                  </a:lnTo>
                  <a:lnTo>
                    <a:pt x="17" y="455"/>
                  </a:lnTo>
                  <a:lnTo>
                    <a:pt x="22" y="460"/>
                  </a:lnTo>
                  <a:lnTo>
                    <a:pt x="27" y="464"/>
                  </a:lnTo>
                  <a:lnTo>
                    <a:pt x="32" y="470"/>
                  </a:lnTo>
                  <a:lnTo>
                    <a:pt x="45" y="478"/>
                  </a:lnTo>
                  <a:lnTo>
                    <a:pt x="60" y="486"/>
                  </a:lnTo>
                  <a:lnTo>
                    <a:pt x="74" y="494"/>
                  </a:lnTo>
                  <a:lnTo>
                    <a:pt x="87" y="499"/>
                  </a:lnTo>
                  <a:lnTo>
                    <a:pt x="101" y="502"/>
                  </a:lnTo>
                  <a:lnTo>
                    <a:pt x="114" y="503"/>
                  </a:lnTo>
                  <a:lnTo>
                    <a:pt x="121" y="503"/>
                  </a:lnTo>
                  <a:lnTo>
                    <a:pt x="127" y="502"/>
                  </a:lnTo>
                  <a:lnTo>
                    <a:pt x="134" y="500"/>
                  </a:lnTo>
                  <a:lnTo>
                    <a:pt x="140" y="496"/>
                  </a:lnTo>
                  <a:lnTo>
                    <a:pt x="146" y="492"/>
                  </a:lnTo>
                  <a:lnTo>
                    <a:pt x="152" y="486"/>
                  </a:lnTo>
                  <a:lnTo>
                    <a:pt x="158" y="478"/>
                  </a:lnTo>
                  <a:lnTo>
                    <a:pt x="161" y="469"/>
                  </a:lnTo>
                  <a:lnTo>
                    <a:pt x="171" y="441"/>
                  </a:lnTo>
                  <a:lnTo>
                    <a:pt x="182" y="411"/>
                  </a:lnTo>
                  <a:lnTo>
                    <a:pt x="195" y="381"/>
                  </a:lnTo>
                  <a:lnTo>
                    <a:pt x="212" y="349"/>
                  </a:lnTo>
                  <a:lnTo>
                    <a:pt x="221" y="333"/>
                  </a:lnTo>
                  <a:lnTo>
                    <a:pt x="231" y="316"/>
                  </a:lnTo>
                  <a:lnTo>
                    <a:pt x="241" y="301"/>
                  </a:lnTo>
                  <a:lnTo>
                    <a:pt x="253" y="285"/>
                  </a:lnTo>
                  <a:lnTo>
                    <a:pt x="265" y="270"/>
                  </a:lnTo>
                  <a:lnTo>
                    <a:pt x="278" y="253"/>
                  </a:lnTo>
                  <a:lnTo>
                    <a:pt x="292" y="238"/>
                  </a:lnTo>
                  <a:lnTo>
                    <a:pt x="306" y="223"/>
                  </a:lnTo>
                  <a:lnTo>
                    <a:pt x="322" y="208"/>
                  </a:lnTo>
                  <a:lnTo>
                    <a:pt x="338" y="194"/>
                  </a:lnTo>
                  <a:lnTo>
                    <a:pt x="355" y="181"/>
                  </a:lnTo>
                  <a:lnTo>
                    <a:pt x="374" y="167"/>
                  </a:lnTo>
                  <a:lnTo>
                    <a:pt x="393" y="154"/>
                  </a:lnTo>
                  <a:lnTo>
                    <a:pt x="414" y="142"/>
                  </a:lnTo>
                  <a:lnTo>
                    <a:pt x="435" y="131"/>
                  </a:lnTo>
                  <a:lnTo>
                    <a:pt x="457" y="120"/>
                  </a:lnTo>
                  <a:lnTo>
                    <a:pt x="480" y="111"/>
                  </a:lnTo>
                  <a:lnTo>
                    <a:pt x="505" y="102"/>
                  </a:lnTo>
                  <a:lnTo>
                    <a:pt x="531" y="94"/>
                  </a:lnTo>
                  <a:lnTo>
                    <a:pt x="557" y="88"/>
                  </a:lnTo>
                  <a:lnTo>
                    <a:pt x="585" y="82"/>
                  </a:lnTo>
                  <a:lnTo>
                    <a:pt x="614" y="78"/>
                  </a:lnTo>
                  <a:lnTo>
                    <a:pt x="645" y="75"/>
                  </a:lnTo>
                  <a:lnTo>
                    <a:pt x="677" y="72"/>
                  </a:lnTo>
                  <a:lnTo>
                    <a:pt x="680" y="72"/>
                  </a:lnTo>
                  <a:lnTo>
                    <a:pt x="683" y="70"/>
                  </a:lnTo>
                  <a:lnTo>
                    <a:pt x="686" y="69"/>
                  </a:lnTo>
                  <a:lnTo>
                    <a:pt x="688" y="67"/>
                  </a:lnTo>
                  <a:lnTo>
                    <a:pt x="691" y="65"/>
                  </a:lnTo>
                  <a:lnTo>
                    <a:pt x="692" y="62"/>
                  </a:lnTo>
                  <a:lnTo>
                    <a:pt x="694" y="59"/>
                  </a:lnTo>
                  <a:lnTo>
                    <a:pt x="694" y="56"/>
                  </a:lnTo>
                  <a:lnTo>
                    <a:pt x="695" y="51"/>
                  </a:lnTo>
                  <a:lnTo>
                    <a:pt x="694" y="45"/>
                  </a:lnTo>
                  <a:lnTo>
                    <a:pt x="693" y="40"/>
                  </a:lnTo>
                  <a:lnTo>
                    <a:pt x="690" y="34"/>
                  </a:lnTo>
                  <a:lnTo>
                    <a:pt x="686" y="29"/>
                  </a:lnTo>
                  <a:lnTo>
                    <a:pt x="681" y="24"/>
                  </a:lnTo>
                  <a:lnTo>
                    <a:pt x="674" y="18"/>
                  </a:lnTo>
                  <a:lnTo>
                    <a:pt x="667" y="14"/>
                  </a:lnTo>
                  <a:lnTo>
                    <a:pt x="657" y="11"/>
                  </a:lnTo>
                  <a:lnTo>
                    <a:pt x="648" y="8"/>
                  </a:lnTo>
                  <a:lnTo>
                    <a:pt x="638" y="6"/>
                  </a:lnTo>
                  <a:lnTo>
                    <a:pt x="628" y="4"/>
                  </a:lnTo>
                  <a:lnTo>
                    <a:pt x="604" y="1"/>
                  </a:lnTo>
                  <a:lnTo>
                    <a:pt x="579" y="0"/>
                  </a:lnTo>
                  <a:lnTo>
                    <a:pt x="558" y="0"/>
                  </a:lnTo>
                  <a:lnTo>
                    <a:pt x="536" y="2"/>
                  </a:lnTo>
                  <a:lnTo>
                    <a:pt x="515" y="5"/>
                  </a:lnTo>
                  <a:lnTo>
                    <a:pt x="491" y="8"/>
                  </a:lnTo>
                  <a:lnTo>
                    <a:pt x="469" y="13"/>
                  </a:lnTo>
                  <a:lnTo>
                    <a:pt x="445" y="19"/>
                  </a:lnTo>
                  <a:lnTo>
                    <a:pt x="422" y="26"/>
                  </a:lnTo>
                  <a:lnTo>
                    <a:pt x="397" y="33"/>
                  </a:lnTo>
                  <a:lnTo>
                    <a:pt x="374" y="41"/>
                  </a:lnTo>
                  <a:lnTo>
                    <a:pt x="350" y="50"/>
                  </a:lnTo>
                  <a:lnTo>
                    <a:pt x="328" y="60"/>
                  </a:lnTo>
                  <a:lnTo>
                    <a:pt x="305" y="70"/>
                  </a:lnTo>
                  <a:lnTo>
                    <a:pt x="283" y="82"/>
                  </a:lnTo>
                  <a:lnTo>
                    <a:pt x="262" y="94"/>
                  </a:lnTo>
                  <a:lnTo>
                    <a:pt x="240" y="106"/>
                  </a:lnTo>
                  <a:lnTo>
                    <a:pt x="221" y="119"/>
                  </a:lnTo>
                  <a:lnTo>
                    <a:pt x="214" y="124"/>
                  </a:lnTo>
                  <a:lnTo>
                    <a:pt x="212" y="116"/>
                  </a:lnTo>
                  <a:lnTo>
                    <a:pt x="209" y="110"/>
                  </a:lnTo>
                  <a:lnTo>
                    <a:pt x="200" y="101"/>
                  </a:lnTo>
                  <a:lnTo>
                    <a:pt x="190" y="91"/>
                  </a:lnTo>
                  <a:lnTo>
                    <a:pt x="176" y="79"/>
                  </a:lnTo>
                  <a:lnTo>
                    <a:pt x="160" y="66"/>
                  </a:lnTo>
                  <a:lnTo>
                    <a:pt x="142" y="55"/>
                  </a:lnTo>
                  <a:lnTo>
                    <a:pt x="133" y="50"/>
                  </a:lnTo>
                  <a:lnTo>
                    <a:pt x="124" y="46"/>
                  </a:lnTo>
                  <a:lnTo>
                    <a:pt x="114" y="42"/>
                  </a:lnTo>
                  <a:lnTo>
                    <a:pt x="104" y="40"/>
                  </a:lnTo>
                  <a:lnTo>
                    <a:pt x="96" y="38"/>
                  </a:lnTo>
                  <a:lnTo>
                    <a:pt x="87" y="36"/>
                  </a:lnTo>
                  <a:lnTo>
                    <a:pt x="79" y="36"/>
                  </a:lnTo>
                  <a:lnTo>
                    <a:pt x="7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3" name="Freeform 40"/>
            <p:cNvSpPr>
              <a:spLocks/>
            </p:cNvSpPr>
            <p:nvPr userDrawn="1"/>
          </p:nvSpPr>
          <p:spPr bwMode="auto">
            <a:xfrm>
              <a:off x="6388" y="599"/>
              <a:ext cx="74" cy="49"/>
            </a:xfrm>
            <a:custGeom>
              <a:avLst/>
              <a:gdLst>
                <a:gd name="T0" fmla="*/ 144 w 883"/>
                <a:gd name="T1" fmla="*/ 3 h 595"/>
                <a:gd name="T2" fmla="*/ 125 w 883"/>
                <a:gd name="T3" fmla="*/ 13 h 595"/>
                <a:gd name="T4" fmla="*/ 100 w 883"/>
                <a:gd name="T5" fmla="*/ 49 h 595"/>
                <a:gd name="T6" fmla="*/ 55 w 883"/>
                <a:gd name="T7" fmla="*/ 183 h 595"/>
                <a:gd name="T8" fmla="*/ 10 w 883"/>
                <a:gd name="T9" fmla="*/ 382 h 595"/>
                <a:gd name="T10" fmla="*/ 0 w 883"/>
                <a:gd name="T11" fmla="*/ 465 h 595"/>
                <a:gd name="T12" fmla="*/ 7 w 883"/>
                <a:gd name="T13" fmla="*/ 503 h 595"/>
                <a:gd name="T14" fmla="*/ 25 w 883"/>
                <a:gd name="T15" fmla="*/ 532 h 595"/>
                <a:gd name="T16" fmla="*/ 77 w 883"/>
                <a:gd name="T17" fmla="*/ 571 h 595"/>
                <a:gd name="T18" fmla="*/ 122 w 883"/>
                <a:gd name="T19" fmla="*/ 590 h 595"/>
                <a:gd name="T20" fmla="*/ 164 w 883"/>
                <a:gd name="T21" fmla="*/ 595 h 595"/>
                <a:gd name="T22" fmla="*/ 201 w 883"/>
                <a:gd name="T23" fmla="*/ 585 h 595"/>
                <a:gd name="T24" fmla="*/ 234 w 883"/>
                <a:gd name="T25" fmla="*/ 555 h 595"/>
                <a:gd name="T26" fmla="*/ 295 w 883"/>
                <a:gd name="T27" fmla="*/ 487 h 595"/>
                <a:gd name="T28" fmla="*/ 404 w 883"/>
                <a:gd name="T29" fmla="*/ 369 h 595"/>
                <a:gd name="T30" fmla="*/ 491 w 883"/>
                <a:gd name="T31" fmla="*/ 296 h 595"/>
                <a:gd name="T32" fmla="*/ 514 w 883"/>
                <a:gd name="T33" fmla="*/ 299 h 595"/>
                <a:gd name="T34" fmla="*/ 534 w 883"/>
                <a:gd name="T35" fmla="*/ 336 h 595"/>
                <a:gd name="T36" fmla="*/ 568 w 883"/>
                <a:gd name="T37" fmla="*/ 405 h 595"/>
                <a:gd name="T38" fmla="*/ 605 w 883"/>
                <a:gd name="T39" fmla="*/ 459 h 595"/>
                <a:gd name="T40" fmla="*/ 644 w 883"/>
                <a:gd name="T41" fmla="*/ 500 h 595"/>
                <a:gd name="T42" fmla="*/ 693 w 883"/>
                <a:gd name="T43" fmla="*/ 535 h 595"/>
                <a:gd name="T44" fmla="*/ 767 w 883"/>
                <a:gd name="T45" fmla="*/ 561 h 595"/>
                <a:gd name="T46" fmla="*/ 828 w 883"/>
                <a:gd name="T47" fmla="*/ 565 h 595"/>
                <a:gd name="T48" fmla="*/ 868 w 883"/>
                <a:gd name="T49" fmla="*/ 555 h 595"/>
                <a:gd name="T50" fmla="*/ 883 w 883"/>
                <a:gd name="T51" fmla="*/ 533 h 595"/>
                <a:gd name="T52" fmla="*/ 880 w 883"/>
                <a:gd name="T53" fmla="*/ 518 h 595"/>
                <a:gd name="T54" fmla="*/ 868 w 883"/>
                <a:gd name="T55" fmla="*/ 512 h 595"/>
                <a:gd name="T56" fmla="*/ 840 w 883"/>
                <a:gd name="T57" fmla="*/ 510 h 595"/>
                <a:gd name="T58" fmla="*/ 808 w 883"/>
                <a:gd name="T59" fmla="*/ 501 h 595"/>
                <a:gd name="T60" fmla="*/ 781 w 883"/>
                <a:gd name="T61" fmla="*/ 483 h 595"/>
                <a:gd name="T62" fmla="*/ 751 w 883"/>
                <a:gd name="T63" fmla="*/ 440 h 595"/>
                <a:gd name="T64" fmla="*/ 722 w 883"/>
                <a:gd name="T65" fmla="*/ 358 h 595"/>
                <a:gd name="T66" fmla="*/ 694 w 883"/>
                <a:gd name="T67" fmla="*/ 231 h 595"/>
                <a:gd name="T68" fmla="*/ 679 w 883"/>
                <a:gd name="T69" fmla="*/ 197 h 595"/>
                <a:gd name="T70" fmla="*/ 655 w 883"/>
                <a:gd name="T71" fmla="*/ 168 h 595"/>
                <a:gd name="T72" fmla="*/ 622 w 883"/>
                <a:gd name="T73" fmla="*/ 145 h 595"/>
                <a:gd name="T74" fmla="*/ 580 w 883"/>
                <a:gd name="T75" fmla="*/ 127 h 595"/>
                <a:gd name="T76" fmla="*/ 537 w 883"/>
                <a:gd name="T77" fmla="*/ 122 h 595"/>
                <a:gd name="T78" fmla="*/ 494 w 883"/>
                <a:gd name="T79" fmla="*/ 140 h 595"/>
                <a:gd name="T80" fmla="*/ 409 w 883"/>
                <a:gd name="T81" fmla="*/ 209 h 595"/>
                <a:gd name="T82" fmla="*/ 308 w 883"/>
                <a:gd name="T83" fmla="*/ 309 h 595"/>
                <a:gd name="T84" fmla="*/ 207 w 883"/>
                <a:gd name="T85" fmla="*/ 410 h 595"/>
                <a:gd name="T86" fmla="*/ 179 w 883"/>
                <a:gd name="T87" fmla="*/ 427 h 595"/>
                <a:gd name="T88" fmla="*/ 201 w 883"/>
                <a:gd name="T89" fmla="*/ 322 h 595"/>
                <a:gd name="T90" fmla="*/ 255 w 883"/>
                <a:gd name="T91" fmla="*/ 149 h 595"/>
                <a:gd name="T92" fmla="*/ 277 w 883"/>
                <a:gd name="T93" fmla="*/ 89 h 595"/>
                <a:gd name="T94" fmla="*/ 276 w 883"/>
                <a:gd name="T95" fmla="*/ 67 h 595"/>
                <a:gd name="T96" fmla="*/ 261 w 883"/>
                <a:gd name="T97" fmla="*/ 42 h 595"/>
                <a:gd name="T98" fmla="*/ 226 w 883"/>
                <a:gd name="T99" fmla="*/ 18 h 595"/>
                <a:gd name="T100" fmla="*/ 174 w 883"/>
                <a:gd name="T101" fmla="*/ 1 h 5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3" h="595">
                  <a:moveTo>
                    <a:pt x="162" y="0"/>
                  </a:moveTo>
                  <a:lnTo>
                    <a:pt x="156" y="0"/>
                  </a:lnTo>
                  <a:lnTo>
                    <a:pt x="150" y="1"/>
                  </a:lnTo>
                  <a:lnTo>
                    <a:pt x="144" y="3"/>
                  </a:lnTo>
                  <a:lnTo>
                    <a:pt x="139" y="4"/>
                  </a:lnTo>
                  <a:lnTo>
                    <a:pt x="134" y="7"/>
                  </a:lnTo>
                  <a:lnTo>
                    <a:pt x="129" y="10"/>
                  </a:lnTo>
                  <a:lnTo>
                    <a:pt x="125" y="13"/>
                  </a:lnTo>
                  <a:lnTo>
                    <a:pt x="121" y="17"/>
                  </a:lnTo>
                  <a:lnTo>
                    <a:pt x="113" y="26"/>
                  </a:lnTo>
                  <a:lnTo>
                    <a:pt x="106" y="37"/>
                  </a:lnTo>
                  <a:lnTo>
                    <a:pt x="100" y="49"/>
                  </a:lnTo>
                  <a:lnTo>
                    <a:pt x="94" y="63"/>
                  </a:lnTo>
                  <a:lnTo>
                    <a:pt x="82" y="97"/>
                  </a:lnTo>
                  <a:lnTo>
                    <a:pt x="68" y="137"/>
                  </a:lnTo>
                  <a:lnTo>
                    <a:pt x="55" y="183"/>
                  </a:lnTo>
                  <a:lnTo>
                    <a:pt x="43" y="232"/>
                  </a:lnTo>
                  <a:lnTo>
                    <a:pt x="31" y="282"/>
                  </a:lnTo>
                  <a:lnTo>
                    <a:pt x="19" y="333"/>
                  </a:lnTo>
                  <a:lnTo>
                    <a:pt x="10" y="382"/>
                  </a:lnTo>
                  <a:lnTo>
                    <a:pt x="3" y="429"/>
                  </a:lnTo>
                  <a:lnTo>
                    <a:pt x="1" y="442"/>
                  </a:lnTo>
                  <a:lnTo>
                    <a:pt x="0" y="454"/>
                  </a:lnTo>
                  <a:lnTo>
                    <a:pt x="0" y="465"/>
                  </a:lnTo>
                  <a:lnTo>
                    <a:pt x="1" y="477"/>
                  </a:lnTo>
                  <a:lnTo>
                    <a:pt x="2" y="486"/>
                  </a:lnTo>
                  <a:lnTo>
                    <a:pt x="4" y="495"/>
                  </a:lnTo>
                  <a:lnTo>
                    <a:pt x="7" y="503"/>
                  </a:lnTo>
                  <a:lnTo>
                    <a:pt x="10" y="511"/>
                  </a:lnTo>
                  <a:lnTo>
                    <a:pt x="14" y="518"/>
                  </a:lnTo>
                  <a:lnTo>
                    <a:pt x="19" y="526"/>
                  </a:lnTo>
                  <a:lnTo>
                    <a:pt x="25" y="532"/>
                  </a:lnTo>
                  <a:lnTo>
                    <a:pt x="32" y="539"/>
                  </a:lnTo>
                  <a:lnTo>
                    <a:pt x="47" y="551"/>
                  </a:lnTo>
                  <a:lnTo>
                    <a:pt x="65" y="564"/>
                  </a:lnTo>
                  <a:lnTo>
                    <a:pt x="77" y="571"/>
                  </a:lnTo>
                  <a:lnTo>
                    <a:pt x="89" y="577"/>
                  </a:lnTo>
                  <a:lnTo>
                    <a:pt x="100" y="582"/>
                  </a:lnTo>
                  <a:lnTo>
                    <a:pt x="111" y="587"/>
                  </a:lnTo>
                  <a:lnTo>
                    <a:pt x="122" y="590"/>
                  </a:lnTo>
                  <a:lnTo>
                    <a:pt x="133" y="592"/>
                  </a:lnTo>
                  <a:lnTo>
                    <a:pt x="144" y="594"/>
                  </a:lnTo>
                  <a:lnTo>
                    <a:pt x="154" y="595"/>
                  </a:lnTo>
                  <a:lnTo>
                    <a:pt x="164" y="595"/>
                  </a:lnTo>
                  <a:lnTo>
                    <a:pt x="174" y="593"/>
                  </a:lnTo>
                  <a:lnTo>
                    <a:pt x="184" y="591"/>
                  </a:lnTo>
                  <a:lnTo>
                    <a:pt x="192" y="589"/>
                  </a:lnTo>
                  <a:lnTo>
                    <a:pt x="201" y="585"/>
                  </a:lnTo>
                  <a:lnTo>
                    <a:pt x="208" y="580"/>
                  </a:lnTo>
                  <a:lnTo>
                    <a:pt x="216" y="575"/>
                  </a:lnTo>
                  <a:lnTo>
                    <a:pt x="222" y="567"/>
                  </a:lnTo>
                  <a:lnTo>
                    <a:pt x="234" y="555"/>
                  </a:lnTo>
                  <a:lnTo>
                    <a:pt x="245" y="542"/>
                  </a:lnTo>
                  <a:lnTo>
                    <a:pt x="257" y="530"/>
                  </a:lnTo>
                  <a:lnTo>
                    <a:pt x="268" y="516"/>
                  </a:lnTo>
                  <a:lnTo>
                    <a:pt x="295" y="487"/>
                  </a:lnTo>
                  <a:lnTo>
                    <a:pt x="321" y="456"/>
                  </a:lnTo>
                  <a:lnTo>
                    <a:pt x="349" y="427"/>
                  </a:lnTo>
                  <a:lnTo>
                    <a:pt x="376" y="397"/>
                  </a:lnTo>
                  <a:lnTo>
                    <a:pt x="404" y="369"/>
                  </a:lnTo>
                  <a:lnTo>
                    <a:pt x="431" y="343"/>
                  </a:lnTo>
                  <a:lnTo>
                    <a:pt x="458" y="320"/>
                  </a:lnTo>
                  <a:lnTo>
                    <a:pt x="484" y="300"/>
                  </a:lnTo>
                  <a:lnTo>
                    <a:pt x="491" y="296"/>
                  </a:lnTo>
                  <a:lnTo>
                    <a:pt x="497" y="295"/>
                  </a:lnTo>
                  <a:lnTo>
                    <a:pt x="503" y="295"/>
                  </a:lnTo>
                  <a:lnTo>
                    <a:pt x="509" y="296"/>
                  </a:lnTo>
                  <a:lnTo>
                    <a:pt x="514" y="299"/>
                  </a:lnTo>
                  <a:lnTo>
                    <a:pt x="519" y="303"/>
                  </a:lnTo>
                  <a:lnTo>
                    <a:pt x="523" y="309"/>
                  </a:lnTo>
                  <a:lnTo>
                    <a:pt x="527" y="316"/>
                  </a:lnTo>
                  <a:lnTo>
                    <a:pt x="534" y="336"/>
                  </a:lnTo>
                  <a:lnTo>
                    <a:pt x="543" y="355"/>
                  </a:lnTo>
                  <a:lnTo>
                    <a:pt x="551" y="372"/>
                  </a:lnTo>
                  <a:lnTo>
                    <a:pt x="560" y="390"/>
                  </a:lnTo>
                  <a:lnTo>
                    <a:pt x="568" y="405"/>
                  </a:lnTo>
                  <a:lnTo>
                    <a:pt x="577" y="420"/>
                  </a:lnTo>
                  <a:lnTo>
                    <a:pt x="586" y="434"/>
                  </a:lnTo>
                  <a:lnTo>
                    <a:pt x="596" y="447"/>
                  </a:lnTo>
                  <a:lnTo>
                    <a:pt x="605" y="459"/>
                  </a:lnTo>
                  <a:lnTo>
                    <a:pt x="615" y="470"/>
                  </a:lnTo>
                  <a:lnTo>
                    <a:pt x="624" y="481"/>
                  </a:lnTo>
                  <a:lnTo>
                    <a:pt x="634" y="491"/>
                  </a:lnTo>
                  <a:lnTo>
                    <a:pt x="644" y="500"/>
                  </a:lnTo>
                  <a:lnTo>
                    <a:pt x="654" y="508"/>
                  </a:lnTo>
                  <a:lnTo>
                    <a:pt x="663" y="515"/>
                  </a:lnTo>
                  <a:lnTo>
                    <a:pt x="673" y="523"/>
                  </a:lnTo>
                  <a:lnTo>
                    <a:pt x="693" y="535"/>
                  </a:lnTo>
                  <a:lnTo>
                    <a:pt x="712" y="545"/>
                  </a:lnTo>
                  <a:lnTo>
                    <a:pt x="731" y="552"/>
                  </a:lnTo>
                  <a:lnTo>
                    <a:pt x="749" y="558"/>
                  </a:lnTo>
                  <a:lnTo>
                    <a:pt x="767" y="561"/>
                  </a:lnTo>
                  <a:lnTo>
                    <a:pt x="783" y="564"/>
                  </a:lnTo>
                  <a:lnTo>
                    <a:pt x="799" y="565"/>
                  </a:lnTo>
                  <a:lnTo>
                    <a:pt x="813" y="566"/>
                  </a:lnTo>
                  <a:lnTo>
                    <a:pt x="828" y="565"/>
                  </a:lnTo>
                  <a:lnTo>
                    <a:pt x="843" y="564"/>
                  </a:lnTo>
                  <a:lnTo>
                    <a:pt x="853" y="562"/>
                  </a:lnTo>
                  <a:lnTo>
                    <a:pt x="861" y="559"/>
                  </a:lnTo>
                  <a:lnTo>
                    <a:pt x="868" y="555"/>
                  </a:lnTo>
                  <a:lnTo>
                    <a:pt x="874" y="550"/>
                  </a:lnTo>
                  <a:lnTo>
                    <a:pt x="878" y="545"/>
                  </a:lnTo>
                  <a:lnTo>
                    <a:pt x="881" y="539"/>
                  </a:lnTo>
                  <a:lnTo>
                    <a:pt x="883" y="533"/>
                  </a:lnTo>
                  <a:lnTo>
                    <a:pt x="883" y="528"/>
                  </a:lnTo>
                  <a:lnTo>
                    <a:pt x="883" y="524"/>
                  </a:lnTo>
                  <a:lnTo>
                    <a:pt x="882" y="520"/>
                  </a:lnTo>
                  <a:lnTo>
                    <a:pt x="880" y="518"/>
                  </a:lnTo>
                  <a:lnTo>
                    <a:pt x="878" y="515"/>
                  </a:lnTo>
                  <a:lnTo>
                    <a:pt x="875" y="514"/>
                  </a:lnTo>
                  <a:lnTo>
                    <a:pt x="872" y="512"/>
                  </a:lnTo>
                  <a:lnTo>
                    <a:pt x="868" y="512"/>
                  </a:lnTo>
                  <a:lnTo>
                    <a:pt x="864" y="511"/>
                  </a:lnTo>
                  <a:lnTo>
                    <a:pt x="860" y="511"/>
                  </a:lnTo>
                  <a:lnTo>
                    <a:pt x="851" y="511"/>
                  </a:lnTo>
                  <a:lnTo>
                    <a:pt x="840" y="510"/>
                  </a:lnTo>
                  <a:lnTo>
                    <a:pt x="832" y="509"/>
                  </a:lnTo>
                  <a:lnTo>
                    <a:pt x="823" y="507"/>
                  </a:lnTo>
                  <a:lnTo>
                    <a:pt x="815" y="504"/>
                  </a:lnTo>
                  <a:lnTo>
                    <a:pt x="808" y="501"/>
                  </a:lnTo>
                  <a:lnTo>
                    <a:pt x="801" y="497"/>
                  </a:lnTo>
                  <a:lnTo>
                    <a:pt x="794" y="493"/>
                  </a:lnTo>
                  <a:lnTo>
                    <a:pt x="787" y="488"/>
                  </a:lnTo>
                  <a:lnTo>
                    <a:pt x="781" y="483"/>
                  </a:lnTo>
                  <a:lnTo>
                    <a:pt x="775" y="477"/>
                  </a:lnTo>
                  <a:lnTo>
                    <a:pt x="770" y="469"/>
                  </a:lnTo>
                  <a:lnTo>
                    <a:pt x="760" y="455"/>
                  </a:lnTo>
                  <a:lnTo>
                    <a:pt x="751" y="440"/>
                  </a:lnTo>
                  <a:lnTo>
                    <a:pt x="743" y="421"/>
                  </a:lnTo>
                  <a:lnTo>
                    <a:pt x="735" y="402"/>
                  </a:lnTo>
                  <a:lnTo>
                    <a:pt x="728" y="381"/>
                  </a:lnTo>
                  <a:lnTo>
                    <a:pt x="722" y="358"/>
                  </a:lnTo>
                  <a:lnTo>
                    <a:pt x="711" y="309"/>
                  </a:lnTo>
                  <a:lnTo>
                    <a:pt x="700" y="255"/>
                  </a:lnTo>
                  <a:lnTo>
                    <a:pt x="697" y="240"/>
                  </a:lnTo>
                  <a:lnTo>
                    <a:pt x="694" y="231"/>
                  </a:lnTo>
                  <a:lnTo>
                    <a:pt x="692" y="222"/>
                  </a:lnTo>
                  <a:lnTo>
                    <a:pt x="687" y="213"/>
                  </a:lnTo>
                  <a:lnTo>
                    <a:pt x="683" y="205"/>
                  </a:lnTo>
                  <a:lnTo>
                    <a:pt x="679" y="197"/>
                  </a:lnTo>
                  <a:lnTo>
                    <a:pt x="674" y="189"/>
                  </a:lnTo>
                  <a:lnTo>
                    <a:pt x="668" y="182"/>
                  </a:lnTo>
                  <a:lnTo>
                    <a:pt x="662" y="174"/>
                  </a:lnTo>
                  <a:lnTo>
                    <a:pt x="655" y="168"/>
                  </a:lnTo>
                  <a:lnTo>
                    <a:pt x="648" y="161"/>
                  </a:lnTo>
                  <a:lnTo>
                    <a:pt x="639" y="155"/>
                  </a:lnTo>
                  <a:lnTo>
                    <a:pt x="631" y="150"/>
                  </a:lnTo>
                  <a:lnTo>
                    <a:pt x="622" y="145"/>
                  </a:lnTo>
                  <a:lnTo>
                    <a:pt x="613" y="140"/>
                  </a:lnTo>
                  <a:lnTo>
                    <a:pt x="603" y="135"/>
                  </a:lnTo>
                  <a:lnTo>
                    <a:pt x="592" y="131"/>
                  </a:lnTo>
                  <a:lnTo>
                    <a:pt x="580" y="127"/>
                  </a:lnTo>
                  <a:lnTo>
                    <a:pt x="569" y="124"/>
                  </a:lnTo>
                  <a:lnTo>
                    <a:pt x="559" y="122"/>
                  </a:lnTo>
                  <a:lnTo>
                    <a:pt x="549" y="121"/>
                  </a:lnTo>
                  <a:lnTo>
                    <a:pt x="537" y="122"/>
                  </a:lnTo>
                  <a:lnTo>
                    <a:pt x="527" y="124"/>
                  </a:lnTo>
                  <a:lnTo>
                    <a:pt x="518" y="128"/>
                  </a:lnTo>
                  <a:lnTo>
                    <a:pt x="510" y="131"/>
                  </a:lnTo>
                  <a:lnTo>
                    <a:pt x="494" y="140"/>
                  </a:lnTo>
                  <a:lnTo>
                    <a:pt x="478" y="150"/>
                  </a:lnTo>
                  <a:lnTo>
                    <a:pt x="457" y="167"/>
                  </a:lnTo>
                  <a:lnTo>
                    <a:pt x="433" y="187"/>
                  </a:lnTo>
                  <a:lnTo>
                    <a:pt x="409" y="209"/>
                  </a:lnTo>
                  <a:lnTo>
                    <a:pt x="383" y="233"/>
                  </a:lnTo>
                  <a:lnTo>
                    <a:pt x="358" y="258"/>
                  </a:lnTo>
                  <a:lnTo>
                    <a:pt x="332" y="284"/>
                  </a:lnTo>
                  <a:lnTo>
                    <a:pt x="308" y="309"/>
                  </a:lnTo>
                  <a:lnTo>
                    <a:pt x="284" y="334"/>
                  </a:lnTo>
                  <a:lnTo>
                    <a:pt x="246" y="372"/>
                  </a:lnTo>
                  <a:lnTo>
                    <a:pt x="218" y="400"/>
                  </a:lnTo>
                  <a:lnTo>
                    <a:pt x="207" y="410"/>
                  </a:lnTo>
                  <a:lnTo>
                    <a:pt x="199" y="417"/>
                  </a:lnTo>
                  <a:lnTo>
                    <a:pt x="192" y="423"/>
                  </a:lnTo>
                  <a:lnTo>
                    <a:pt x="188" y="425"/>
                  </a:lnTo>
                  <a:lnTo>
                    <a:pt x="179" y="427"/>
                  </a:lnTo>
                  <a:lnTo>
                    <a:pt x="180" y="417"/>
                  </a:lnTo>
                  <a:lnTo>
                    <a:pt x="185" y="392"/>
                  </a:lnTo>
                  <a:lnTo>
                    <a:pt x="192" y="360"/>
                  </a:lnTo>
                  <a:lnTo>
                    <a:pt x="201" y="322"/>
                  </a:lnTo>
                  <a:lnTo>
                    <a:pt x="211" y="283"/>
                  </a:lnTo>
                  <a:lnTo>
                    <a:pt x="224" y="239"/>
                  </a:lnTo>
                  <a:lnTo>
                    <a:pt x="239" y="194"/>
                  </a:lnTo>
                  <a:lnTo>
                    <a:pt x="255" y="149"/>
                  </a:lnTo>
                  <a:lnTo>
                    <a:pt x="272" y="105"/>
                  </a:lnTo>
                  <a:lnTo>
                    <a:pt x="275" y="100"/>
                  </a:lnTo>
                  <a:lnTo>
                    <a:pt x="276" y="94"/>
                  </a:lnTo>
                  <a:lnTo>
                    <a:pt x="277" y="89"/>
                  </a:lnTo>
                  <a:lnTo>
                    <a:pt x="278" y="84"/>
                  </a:lnTo>
                  <a:lnTo>
                    <a:pt x="278" y="78"/>
                  </a:lnTo>
                  <a:lnTo>
                    <a:pt x="277" y="72"/>
                  </a:lnTo>
                  <a:lnTo>
                    <a:pt x="276" y="67"/>
                  </a:lnTo>
                  <a:lnTo>
                    <a:pt x="274" y="62"/>
                  </a:lnTo>
                  <a:lnTo>
                    <a:pt x="271" y="55"/>
                  </a:lnTo>
                  <a:lnTo>
                    <a:pt x="266" y="48"/>
                  </a:lnTo>
                  <a:lnTo>
                    <a:pt x="261" y="42"/>
                  </a:lnTo>
                  <a:lnTo>
                    <a:pt x="254" y="36"/>
                  </a:lnTo>
                  <a:lnTo>
                    <a:pt x="246" y="30"/>
                  </a:lnTo>
                  <a:lnTo>
                    <a:pt x="237" y="23"/>
                  </a:lnTo>
                  <a:lnTo>
                    <a:pt x="226" y="18"/>
                  </a:lnTo>
                  <a:lnTo>
                    <a:pt x="215" y="13"/>
                  </a:lnTo>
                  <a:lnTo>
                    <a:pt x="201" y="7"/>
                  </a:lnTo>
                  <a:lnTo>
                    <a:pt x="187" y="3"/>
                  </a:lnTo>
                  <a:lnTo>
                    <a:pt x="174" y="1"/>
                  </a:lnTo>
                  <a:lnTo>
                    <a:pt x="162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4" name="Freeform 41"/>
            <p:cNvSpPr>
              <a:spLocks/>
            </p:cNvSpPr>
            <p:nvPr userDrawn="1"/>
          </p:nvSpPr>
          <p:spPr bwMode="auto">
            <a:xfrm>
              <a:off x="6666" y="603"/>
              <a:ext cx="60" cy="44"/>
            </a:xfrm>
            <a:custGeom>
              <a:avLst/>
              <a:gdLst>
                <a:gd name="T0" fmla="*/ 518 w 721"/>
                <a:gd name="T1" fmla="*/ 321 h 522"/>
                <a:gd name="T2" fmla="*/ 536 w 721"/>
                <a:gd name="T3" fmla="*/ 387 h 522"/>
                <a:gd name="T4" fmla="*/ 575 w 721"/>
                <a:gd name="T5" fmla="*/ 455 h 522"/>
                <a:gd name="T6" fmla="*/ 622 w 721"/>
                <a:gd name="T7" fmla="*/ 498 h 522"/>
                <a:gd name="T8" fmla="*/ 664 w 721"/>
                <a:gd name="T9" fmla="*/ 519 h 522"/>
                <a:gd name="T10" fmla="*/ 699 w 721"/>
                <a:gd name="T11" fmla="*/ 522 h 522"/>
                <a:gd name="T12" fmla="*/ 719 w 721"/>
                <a:gd name="T13" fmla="*/ 510 h 522"/>
                <a:gd name="T14" fmla="*/ 717 w 721"/>
                <a:gd name="T15" fmla="*/ 488 h 522"/>
                <a:gd name="T16" fmla="*/ 698 w 721"/>
                <a:gd name="T17" fmla="*/ 444 h 522"/>
                <a:gd name="T18" fmla="*/ 682 w 721"/>
                <a:gd name="T19" fmla="*/ 342 h 522"/>
                <a:gd name="T20" fmla="*/ 685 w 721"/>
                <a:gd name="T21" fmla="*/ 242 h 522"/>
                <a:gd name="T22" fmla="*/ 697 w 721"/>
                <a:gd name="T23" fmla="*/ 155 h 522"/>
                <a:gd name="T24" fmla="*/ 699 w 721"/>
                <a:gd name="T25" fmla="*/ 112 h 522"/>
                <a:gd name="T26" fmla="*/ 687 w 721"/>
                <a:gd name="T27" fmla="*/ 82 h 522"/>
                <a:gd name="T28" fmla="*/ 664 w 721"/>
                <a:gd name="T29" fmla="*/ 59 h 522"/>
                <a:gd name="T30" fmla="*/ 622 w 721"/>
                <a:gd name="T31" fmla="*/ 34 h 522"/>
                <a:gd name="T32" fmla="*/ 574 w 721"/>
                <a:gd name="T33" fmla="*/ 25 h 522"/>
                <a:gd name="T34" fmla="*/ 553 w 721"/>
                <a:gd name="T35" fmla="*/ 38 h 522"/>
                <a:gd name="T36" fmla="*/ 510 w 721"/>
                <a:gd name="T37" fmla="*/ 116 h 522"/>
                <a:gd name="T38" fmla="*/ 432 w 721"/>
                <a:gd name="T39" fmla="*/ 216 h 522"/>
                <a:gd name="T40" fmla="*/ 343 w 721"/>
                <a:gd name="T41" fmla="*/ 300 h 522"/>
                <a:gd name="T42" fmla="*/ 291 w 721"/>
                <a:gd name="T43" fmla="*/ 334 h 522"/>
                <a:gd name="T44" fmla="*/ 254 w 721"/>
                <a:gd name="T45" fmla="*/ 345 h 522"/>
                <a:gd name="T46" fmla="*/ 222 w 721"/>
                <a:gd name="T47" fmla="*/ 342 h 522"/>
                <a:gd name="T48" fmla="*/ 197 w 721"/>
                <a:gd name="T49" fmla="*/ 326 h 522"/>
                <a:gd name="T50" fmla="*/ 183 w 721"/>
                <a:gd name="T51" fmla="*/ 290 h 522"/>
                <a:gd name="T52" fmla="*/ 183 w 721"/>
                <a:gd name="T53" fmla="*/ 242 h 522"/>
                <a:gd name="T54" fmla="*/ 195 w 721"/>
                <a:gd name="T55" fmla="*/ 187 h 522"/>
                <a:gd name="T56" fmla="*/ 225 w 721"/>
                <a:gd name="T57" fmla="*/ 111 h 522"/>
                <a:gd name="T58" fmla="*/ 231 w 721"/>
                <a:gd name="T59" fmla="*/ 83 h 522"/>
                <a:gd name="T60" fmla="*/ 225 w 721"/>
                <a:gd name="T61" fmla="*/ 58 h 522"/>
                <a:gd name="T62" fmla="*/ 205 w 721"/>
                <a:gd name="T63" fmla="*/ 36 h 522"/>
                <a:gd name="T64" fmla="*/ 163 w 721"/>
                <a:gd name="T65" fmla="*/ 12 h 522"/>
                <a:gd name="T66" fmla="*/ 123 w 721"/>
                <a:gd name="T67" fmla="*/ 1 h 522"/>
                <a:gd name="T68" fmla="*/ 91 w 721"/>
                <a:gd name="T69" fmla="*/ 5 h 522"/>
                <a:gd name="T70" fmla="*/ 68 w 721"/>
                <a:gd name="T71" fmla="*/ 26 h 522"/>
                <a:gd name="T72" fmla="*/ 42 w 721"/>
                <a:gd name="T73" fmla="*/ 90 h 522"/>
                <a:gd name="T74" fmla="*/ 9 w 721"/>
                <a:gd name="T75" fmla="*/ 214 h 522"/>
                <a:gd name="T76" fmla="*/ 0 w 721"/>
                <a:gd name="T77" fmla="*/ 279 h 522"/>
                <a:gd name="T78" fmla="*/ 5 w 721"/>
                <a:gd name="T79" fmla="*/ 313 h 522"/>
                <a:gd name="T80" fmla="*/ 34 w 721"/>
                <a:gd name="T81" fmla="*/ 375 h 522"/>
                <a:gd name="T82" fmla="*/ 73 w 721"/>
                <a:gd name="T83" fmla="*/ 418 h 522"/>
                <a:gd name="T84" fmla="*/ 112 w 721"/>
                <a:gd name="T85" fmla="*/ 446 h 522"/>
                <a:gd name="T86" fmla="*/ 155 w 721"/>
                <a:gd name="T87" fmla="*/ 466 h 522"/>
                <a:gd name="T88" fmla="*/ 198 w 721"/>
                <a:gd name="T89" fmla="*/ 475 h 522"/>
                <a:gd name="T90" fmla="*/ 251 w 721"/>
                <a:gd name="T91" fmla="*/ 469 h 522"/>
                <a:gd name="T92" fmla="*/ 316 w 721"/>
                <a:gd name="T93" fmla="*/ 440 h 522"/>
                <a:gd name="T94" fmla="*/ 394 w 721"/>
                <a:gd name="T95" fmla="*/ 388 h 522"/>
                <a:gd name="T96" fmla="*/ 483 w 721"/>
                <a:gd name="T97" fmla="*/ 313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21" h="522">
                  <a:moveTo>
                    <a:pt x="515" y="282"/>
                  </a:moveTo>
                  <a:lnTo>
                    <a:pt x="516" y="294"/>
                  </a:lnTo>
                  <a:lnTo>
                    <a:pt x="516" y="307"/>
                  </a:lnTo>
                  <a:lnTo>
                    <a:pt x="518" y="321"/>
                  </a:lnTo>
                  <a:lnTo>
                    <a:pt x="520" y="332"/>
                  </a:lnTo>
                  <a:lnTo>
                    <a:pt x="522" y="344"/>
                  </a:lnTo>
                  <a:lnTo>
                    <a:pt x="528" y="367"/>
                  </a:lnTo>
                  <a:lnTo>
                    <a:pt x="536" y="387"/>
                  </a:lnTo>
                  <a:lnTo>
                    <a:pt x="544" y="406"/>
                  </a:lnTo>
                  <a:lnTo>
                    <a:pt x="553" y="424"/>
                  </a:lnTo>
                  <a:lnTo>
                    <a:pt x="564" y="440"/>
                  </a:lnTo>
                  <a:lnTo>
                    <a:pt x="575" y="455"/>
                  </a:lnTo>
                  <a:lnTo>
                    <a:pt x="587" y="468"/>
                  </a:lnTo>
                  <a:lnTo>
                    <a:pt x="599" y="480"/>
                  </a:lnTo>
                  <a:lnTo>
                    <a:pt x="610" y="490"/>
                  </a:lnTo>
                  <a:lnTo>
                    <a:pt x="622" y="498"/>
                  </a:lnTo>
                  <a:lnTo>
                    <a:pt x="634" y="505"/>
                  </a:lnTo>
                  <a:lnTo>
                    <a:pt x="645" y="511"/>
                  </a:lnTo>
                  <a:lnTo>
                    <a:pt x="655" y="516"/>
                  </a:lnTo>
                  <a:lnTo>
                    <a:pt x="664" y="519"/>
                  </a:lnTo>
                  <a:lnTo>
                    <a:pt x="673" y="521"/>
                  </a:lnTo>
                  <a:lnTo>
                    <a:pt x="683" y="522"/>
                  </a:lnTo>
                  <a:lnTo>
                    <a:pt x="692" y="522"/>
                  </a:lnTo>
                  <a:lnTo>
                    <a:pt x="699" y="522"/>
                  </a:lnTo>
                  <a:lnTo>
                    <a:pt x="706" y="520"/>
                  </a:lnTo>
                  <a:lnTo>
                    <a:pt x="712" y="518"/>
                  </a:lnTo>
                  <a:lnTo>
                    <a:pt x="716" y="515"/>
                  </a:lnTo>
                  <a:lnTo>
                    <a:pt x="719" y="510"/>
                  </a:lnTo>
                  <a:lnTo>
                    <a:pt x="721" y="505"/>
                  </a:lnTo>
                  <a:lnTo>
                    <a:pt x="721" y="500"/>
                  </a:lnTo>
                  <a:lnTo>
                    <a:pt x="720" y="494"/>
                  </a:lnTo>
                  <a:lnTo>
                    <a:pt x="717" y="488"/>
                  </a:lnTo>
                  <a:lnTo>
                    <a:pt x="711" y="478"/>
                  </a:lnTo>
                  <a:lnTo>
                    <a:pt x="706" y="467"/>
                  </a:lnTo>
                  <a:lnTo>
                    <a:pt x="702" y="455"/>
                  </a:lnTo>
                  <a:lnTo>
                    <a:pt x="698" y="444"/>
                  </a:lnTo>
                  <a:lnTo>
                    <a:pt x="692" y="420"/>
                  </a:lnTo>
                  <a:lnTo>
                    <a:pt x="687" y="394"/>
                  </a:lnTo>
                  <a:lnTo>
                    <a:pt x="684" y="368"/>
                  </a:lnTo>
                  <a:lnTo>
                    <a:pt x="682" y="342"/>
                  </a:lnTo>
                  <a:lnTo>
                    <a:pt x="682" y="315"/>
                  </a:lnTo>
                  <a:lnTo>
                    <a:pt x="682" y="290"/>
                  </a:lnTo>
                  <a:lnTo>
                    <a:pt x="683" y="265"/>
                  </a:lnTo>
                  <a:lnTo>
                    <a:pt x="685" y="242"/>
                  </a:lnTo>
                  <a:lnTo>
                    <a:pt x="687" y="221"/>
                  </a:lnTo>
                  <a:lnTo>
                    <a:pt x="690" y="202"/>
                  </a:lnTo>
                  <a:lnTo>
                    <a:pt x="694" y="172"/>
                  </a:lnTo>
                  <a:lnTo>
                    <a:pt x="697" y="155"/>
                  </a:lnTo>
                  <a:lnTo>
                    <a:pt x="699" y="143"/>
                  </a:lnTo>
                  <a:lnTo>
                    <a:pt x="700" y="132"/>
                  </a:lnTo>
                  <a:lnTo>
                    <a:pt x="700" y="122"/>
                  </a:lnTo>
                  <a:lnTo>
                    <a:pt x="699" y="112"/>
                  </a:lnTo>
                  <a:lnTo>
                    <a:pt x="697" y="103"/>
                  </a:lnTo>
                  <a:lnTo>
                    <a:pt x="695" y="96"/>
                  </a:lnTo>
                  <a:lnTo>
                    <a:pt x="691" y="89"/>
                  </a:lnTo>
                  <a:lnTo>
                    <a:pt x="687" y="82"/>
                  </a:lnTo>
                  <a:lnTo>
                    <a:pt x="682" y="76"/>
                  </a:lnTo>
                  <a:lnTo>
                    <a:pt x="676" y="69"/>
                  </a:lnTo>
                  <a:lnTo>
                    <a:pt x="671" y="64"/>
                  </a:lnTo>
                  <a:lnTo>
                    <a:pt x="664" y="59"/>
                  </a:lnTo>
                  <a:lnTo>
                    <a:pt x="651" y="50"/>
                  </a:lnTo>
                  <a:lnTo>
                    <a:pt x="638" y="42"/>
                  </a:lnTo>
                  <a:lnTo>
                    <a:pt x="636" y="41"/>
                  </a:lnTo>
                  <a:lnTo>
                    <a:pt x="622" y="34"/>
                  </a:lnTo>
                  <a:lnTo>
                    <a:pt x="609" y="29"/>
                  </a:lnTo>
                  <a:lnTo>
                    <a:pt x="596" y="26"/>
                  </a:lnTo>
                  <a:lnTo>
                    <a:pt x="584" y="24"/>
                  </a:lnTo>
                  <a:lnTo>
                    <a:pt x="574" y="25"/>
                  </a:lnTo>
                  <a:lnTo>
                    <a:pt x="565" y="28"/>
                  </a:lnTo>
                  <a:lnTo>
                    <a:pt x="561" y="30"/>
                  </a:lnTo>
                  <a:lnTo>
                    <a:pt x="557" y="34"/>
                  </a:lnTo>
                  <a:lnTo>
                    <a:pt x="553" y="38"/>
                  </a:lnTo>
                  <a:lnTo>
                    <a:pt x="551" y="43"/>
                  </a:lnTo>
                  <a:lnTo>
                    <a:pt x="540" y="66"/>
                  </a:lnTo>
                  <a:lnTo>
                    <a:pt x="526" y="91"/>
                  </a:lnTo>
                  <a:lnTo>
                    <a:pt x="510" y="116"/>
                  </a:lnTo>
                  <a:lnTo>
                    <a:pt x="493" y="142"/>
                  </a:lnTo>
                  <a:lnTo>
                    <a:pt x="473" y="167"/>
                  </a:lnTo>
                  <a:lnTo>
                    <a:pt x="453" y="192"/>
                  </a:lnTo>
                  <a:lnTo>
                    <a:pt x="432" y="216"/>
                  </a:lnTo>
                  <a:lnTo>
                    <a:pt x="409" y="240"/>
                  </a:lnTo>
                  <a:lnTo>
                    <a:pt x="388" y="262"/>
                  </a:lnTo>
                  <a:lnTo>
                    <a:pt x="365" y="282"/>
                  </a:lnTo>
                  <a:lnTo>
                    <a:pt x="343" y="300"/>
                  </a:lnTo>
                  <a:lnTo>
                    <a:pt x="322" y="315"/>
                  </a:lnTo>
                  <a:lnTo>
                    <a:pt x="310" y="323"/>
                  </a:lnTo>
                  <a:lnTo>
                    <a:pt x="300" y="329"/>
                  </a:lnTo>
                  <a:lnTo>
                    <a:pt x="291" y="334"/>
                  </a:lnTo>
                  <a:lnTo>
                    <a:pt x="281" y="338"/>
                  </a:lnTo>
                  <a:lnTo>
                    <a:pt x="272" y="341"/>
                  </a:lnTo>
                  <a:lnTo>
                    <a:pt x="262" y="344"/>
                  </a:lnTo>
                  <a:lnTo>
                    <a:pt x="254" y="345"/>
                  </a:lnTo>
                  <a:lnTo>
                    <a:pt x="246" y="346"/>
                  </a:lnTo>
                  <a:lnTo>
                    <a:pt x="238" y="345"/>
                  </a:lnTo>
                  <a:lnTo>
                    <a:pt x="230" y="344"/>
                  </a:lnTo>
                  <a:lnTo>
                    <a:pt x="222" y="342"/>
                  </a:lnTo>
                  <a:lnTo>
                    <a:pt x="214" y="339"/>
                  </a:lnTo>
                  <a:lnTo>
                    <a:pt x="208" y="336"/>
                  </a:lnTo>
                  <a:lnTo>
                    <a:pt x="202" y="331"/>
                  </a:lnTo>
                  <a:lnTo>
                    <a:pt x="197" y="326"/>
                  </a:lnTo>
                  <a:lnTo>
                    <a:pt x="193" y="320"/>
                  </a:lnTo>
                  <a:lnTo>
                    <a:pt x="188" y="310"/>
                  </a:lnTo>
                  <a:lnTo>
                    <a:pt x="185" y="301"/>
                  </a:lnTo>
                  <a:lnTo>
                    <a:pt x="183" y="290"/>
                  </a:lnTo>
                  <a:lnTo>
                    <a:pt x="181" y="279"/>
                  </a:lnTo>
                  <a:lnTo>
                    <a:pt x="181" y="267"/>
                  </a:lnTo>
                  <a:lnTo>
                    <a:pt x="181" y="255"/>
                  </a:lnTo>
                  <a:lnTo>
                    <a:pt x="183" y="242"/>
                  </a:lnTo>
                  <a:lnTo>
                    <a:pt x="185" y="229"/>
                  </a:lnTo>
                  <a:lnTo>
                    <a:pt x="187" y="214"/>
                  </a:lnTo>
                  <a:lnTo>
                    <a:pt x="191" y="201"/>
                  </a:lnTo>
                  <a:lnTo>
                    <a:pt x="195" y="187"/>
                  </a:lnTo>
                  <a:lnTo>
                    <a:pt x="199" y="174"/>
                  </a:lnTo>
                  <a:lnTo>
                    <a:pt x="209" y="146"/>
                  </a:lnTo>
                  <a:lnTo>
                    <a:pt x="221" y="120"/>
                  </a:lnTo>
                  <a:lnTo>
                    <a:pt x="225" y="111"/>
                  </a:lnTo>
                  <a:lnTo>
                    <a:pt x="227" y="104"/>
                  </a:lnTo>
                  <a:lnTo>
                    <a:pt x="229" y="97"/>
                  </a:lnTo>
                  <a:lnTo>
                    <a:pt x="231" y="90"/>
                  </a:lnTo>
                  <a:lnTo>
                    <a:pt x="231" y="83"/>
                  </a:lnTo>
                  <a:lnTo>
                    <a:pt x="231" y="77"/>
                  </a:lnTo>
                  <a:lnTo>
                    <a:pt x="229" y="71"/>
                  </a:lnTo>
                  <a:lnTo>
                    <a:pt x="228" y="64"/>
                  </a:lnTo>
                  <a:lnTo>
                    <a:pt x="225" y="58"/>
                  </a:lnTo>
                  <a:lnTo>
                    <a:pt x="221" y="52"/>
                  </a:lnTo>
                  <a:lnTo>
                    <a:pt x="216" y="47"/>
                  </a:lnTo>
                  <a:lnTo>
                    <a:pt x="211" y="42"/>
                  </a:lnTo>
                  <a:lnTo>
                    <a:pt x="205" y="36"/>
                  </a:lnTo>
                  <a:lnTo>
                    <a:pt x="198" y="31"/>
                  </a:lnTo>
                  <a:lnTo>
                    <a:pt x="190" y="26"/>
                  </a:lnTo>
                  <a:lnTo>
                    <a:pt x="181" y="20"/>
                  </a:lnTo>
                  <a:lnTo>
                    <a:pt x="163" y="12"/>
                  </a:lnTo>
                  <a:lnTo>
                    <a:pt x="146" y="5"/>
                  </a:lnTo>
                  <a:lnTo>
                    <a:pt x="138" y="3"/>
                  </a:lnTo>
                  <a:lnTo>
                    <a:pt x="130" y="2"/>
                  </a:lnTo>
                  <a:lnTo>
                    <a:pt x="123" y="1"/>
                  </a:lnTo>
                  <a:lnTo>
                    <a:pt x="115" y="0"/>
                  </a:lnTo>
                  <a:lnTo>
                    <a:pt x="106" y="1"/>
                  </a:lnTo>
                  <a:lnTo>
                    <a:pt x="98" y="2"/>
                  </a:lnTo>
                  <a:lnTo>
                    <a:pt x="91" y="5"/>
                  </a:lnTo>
                  <a:lnTo>
                    <a:pt x="84" y="8"/>
                  </a:lnTo>
                  <a:lnTo>
                    <a:pt x="78" y="13"/>
                  </a:lnTo>
                  <a:lnTo>
                    <a:pt x="73" y="18"/>
                  </a:lnTo>
                  <a:lnTo>
                    <a:pt x="68" y="26"/>
                  </a:lnTo>
                  <a:lnTo>
                    <a:pt x="63" y="33"/>
                  </a:lnTo>
                  <a:lnTo>
                    <a:pt x="57" y="48"/>
                  </a:lnTo>
                  <a:lnTo>
                    <a:pt x="50" y="66"/>
                  </a:lnTo>
                  <a:lnTo>
                    <a:pt x="42" y="90"/>
                  </a:lnTo>
                  <a:lnTo>
                    <a:pt x="34" y="116"/>
                  </a:lnTo>
                  <a:lnTo>
                    <a:pt x="25" y="146"/>
                  </a:lnTo>
                  <a:lnTo>
                    <a:pt x="17" y="179"/>
                  </a:lnTo>
                  <a:lnTo>
                    <a:pt x="9" y="214"/>
                  </a:lnTo>
                  <a:lnTo>
                    <a:pt x="2" y="252"/>
                  </a:lnTo>
                  <a:lnTo>
                    <a:pt x="1" y="260"/>
                  </a:lnTo>
                  <a:lnTo>
                    <a:pt x="0" y="270"/>
                  </a:lnTo>
                  <a:lnTo>
                    <a:pt x="0" y="279"/>
                  </a:lnTo>
                  <a:lnTo>
                    <a:pt x="1" y="287"/>
                  </a:lnTo>
                  <a:lnTo>
                    <a:pt x="2" y="296"/>
                  </a:lnTo>
                  <a:lnTo>
                    <a:pt x="3" y="305"/>
                  </a:lnTo>
                  <a:lnTo>
                    <a:pt x="5" y="313"/>
                  </a:lnTo>
                  <a:lnTo>
                    <a:pt x="8" y="323"/>
                  </a:lnTo>
                  <a:lnTo>
                    <a:pt x="14" y="340"/>
                  </a:lnTo>
                  <a:lnTo>
                    <a:pt x="24" y="357"/>
                  </a:lnTo>
                  <a:lnTo>
                    <a:pt x="34" y="375"/>
                  </a:lnTo>
                  <a:lnTo>
                    <a:pt x="46" y="391"/>
                  </a:lnTo>
                  <a:lnTo>
                    <a:pt x="55" y="400"/>
                  </a:lnTo>
                  <a:lnTo>
                    <a:pt x="63" y="408"/>
                  </a:lnTo>
                  <a:lnTo>
                    <a:pt x="73" y="418"/>
                  </a:lnTo>
                  <a:lnTo>
                    <a:pt x="83" y="425"/>
                  </a:lnTo>
                  <a:lnTo>
                    <a:pt x="92" y="433"/>
                  </a:lnTo>
                  <a:lnTo>
                    <a:pt x="102" y="440"/>
                  </a:lnTo>
                  <a:lnTo>
                    <a:pt x="112" y="446"/>
                  </a:lnTo>
                  <a:lnTo>
                    <a:pt x="124" y="452"/>
                  </a:lnTo>
                  <a:lnTo>
                    <a:pt x="134" y="457"/>
                  </a:lnTo>
                  <a:lnTo>
                    <a:pt x="145" y="461"/>
                  </a:lnTo>
                  <a:lnTo>
                    <a:pt x="155" y="466"/>
                  </a:lnTo>
                  <a:lnTo>
                    <a:pt x="166" y="469"/>
                  </a:lnTo>
                  <a:lnTo>
                    <a:pt x="177" y="472"/>
                  </a:lnTo>
                  <a:lnTo>
                    <a:pt x="188" y="474"/>
                  </a:lnTo>
                  <a:lnTo>
                    <a:pt x="198" y="475"/>
                  </a:lnTo>
                  <a:lnTo>
                    <a:pt x="208" y="475"/>
                  </a:lnTo>
                  <a:lnTo>
                    <a:pt x="222" y="475"/>
                  </a:lnTo>
                  <a:lnTo>
                    <a:pt x="236" y="473"/>
                  </a:lnTo>
                  <a:lnTo>
                    <a:pt x="251" y="469"/>
                  </a:lnTo>
                  <a:lnTo>
                    <a:pt x="266" y="463"/>
                  </a:lnTo>
                  <a:lnTo>
                    <a:pt x="283" y="457"/>
                  </a:lnTo>
                  <a:lnTo>
                    <a:pt x="299" y="449"/>
                  </a:lnTo>
                  <a:lnTo>
                    <a:pt x="316" y="440"/>
                  </a:lnTo>
                  <a:lnTo>
                    <a:pt x="335" y="430"/>
                  </a:lnTo>
                  <a:lnTo>
                    <a:pt x="354" y="418"/>
                  </a:lnTo>
                  <a:lnTo>
                    <a:pt x="374" y="403"/>
                  </a:lnTo>
                  <a:lnTo>
                    <a:pt x="394" y="388"/>
                  </a:lnTo>
                  <a:lnTo>
                    <a:pt x="414" y="372"/>
                  </a:lnTo>
                  <a:lnTo>
                    <a:pt x="437" y="353"/>
                  </a:lnTo>
                  <a:lnTo>
                    <a:pt x="459" y="334"/>
                  </a:lnTo>
                  <a:lnTo>
                    <a:pt x="483" y="313"/>
                  </a:lnTo>
                  <a:lnTo>
                    <a:pt x="506" y="291"/>
                  </a:lnTo>
                  <a:lnTo>
                    <a:pt x="515" y="282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5" name="Freeform 42"/>
            <p:cNvSpPr>
              <a:spLocks/>
            </p:cNvSpPr>
            <p:nvPr userDrawn="1"/>
          </p:nvSpPr>
          <p:spPr bwMode="auto">
            <a:xfrm>
              <a:off x="6739" y="604"/>
              <a:ext cx="18" cy="42"/>
            </a:xfrm>
            <a:custGeom>
              <a:avLst/>
              <a:gdLst>
                <a:gd name="T0" fmla="*/ 85 w 214"/>
                <a:gd name="T1" fmla="*/ 0 h 504"/>
                <a:gd name="T2" fmla="*/ 74 w 214"/>
                <a:gd name="T3" fmla="*/ 2 h 504"/>
                <a:gd name="T4" fmla="*/ 65 w 214"/>
                <a:gd name="T5" fmla="*/ 6 h 504"/>
                <a:gd name="T6" fmla="*/ 56 w 214"/>
                <a:gd name="T7" fmla="*/ 13 h 504"/>
                <a:gd name="T8" fmla="*/ 44 w 214"/>
                <a:gd name="T9" fmla="*/ 29 h 504"/>
                <a:gd name="T10" fmla="*/ 31 w 214"/>
                <a:gd name="T11" fmla="*/ 57 h 504"/>
                <a:gd name="T12" fmla="*/ 19 w 214"/>
                <a:gd name="T13" fmla="*/ 102 h 504"/>
                <a:gd name="T14" fmla="*/ 9 w 214"/>
                <a:gd name="T15" fmla="*/ 155 h 504"/>
                <a:gd name="T16" fmla="*/ 2 w 214"/>
                <a:gd name="T17" fmla="*/ 206 h 504"/>
                <a:gd name="T18" fmla="*/ 0 w 214"/>
                <a:gd name="T19" fmla="*/ 254 h 504"/>
                <a:gd name="T20" fmla="*/ 2 w 214"/>
                <a:gd name="T21" fmla="*/ 299 h 504"/>
                <a:gd name="T22" fmla="*/ 9 w 214"/>
                <a:gd name="T23" fmla="*/ 341 h 504"/>
                <a:gd name="T24" fmla="*/ 19 w 214"/>
                <a:gd name="T25" fmla="*/ 380 h 504"/>
                <a:gd name="T26" fmla="*/ 33 w 214"/>
                <a:gd name="T27" fmla="*/ 413 h 504"/>
                <a:gd name="T28" fmla="*/ 51 w 214"/>
                <a:gd name="T29" fmla="*/ 443 h 504"/>
                <a:gd name="T30" fmla="*/ 74 w 214"/>
                <a:gd name="T31" fmla="*/ 468 h 504"/>
                <a:gd name="T32" fmla="*/ 100 w 214"/>
                <a:gd name="T33" fmla="*/ 486 h 504"/>
                <a:gd name="T34" fmla="*/ 130 w 214"/>
                <a:gd name="T35" fmla="*/ 498 h 504"/>
                <a:gd name="T36" fmla="*/ 154 w 214"/>
                <a:gd name="T37" fmla="*/ 504 h 504"/>
                <a:gd name="T38" fmla="*/ 171 w 214"/>
                <a:gd name="T39" fmla="*/ 504 h 504"/>
                <a:gd name="T40" fmla="*/ 184 w 214"/>
                <a:gd name="T41" fmla="*/ 502 h 504"/>
                <a:gd name="T42" fmla="*/ 194 w 214"/>
                <a:gd name="T43" fmla="*/ 497 h 504"/>
                <a:gd name="T44" fmla="*/ 199 w 214"/>
                <a:gd name="T45" fmla="*/ 488 h 504"/>
                <a:gd name="T46" fmla="*/ 199 w 214"/>
                <a:gd name="T47" fmla="*/ 479 h 504"/>
                <a:gd name="T48" fmla="*/ 191 w 214"/>
                <a:gd name="T49" fmla="*/ 459 h 504"/>
                <a:gd name="T50" fmla="*/ 180 w 214"/>
                <a:gd name="T51" fmla="*/ 424 h 504"/>
                <a:gd name="T52" fmla="*/ 172 w 214"/>
                <a:gd name="T53" fmla="*/ 384 h 504"/>
                <a:gd name="T54" fmla="*/ 167 w 214"/>
                <a:gd name="T55" fmla="*/ 341 h 504"/>
                <a:gd name="T56" fmla="*/ 167 w 214"/>
                <a:gd name="T57" fmla="*/ 295 h 504"/>
                <a:gd name="T58" fmla="*/ 170 w 214"/>
                <a:gd name="T59" fmla="*/ 249 h 504"/>
                <a:gd name="T60" fmla="*/ 179 w 214"/>
                <a:gd name="T61" fmla="*/ 202 h 504"/>
                <a:gd name="T62" fmla="*/ 192 w 214"/>
                <a:gd name="T63" fmla="*/ 157 h 504"/>
                <a:gd name="T64" fmla="*/ 205 w 214"/>
                <a:gd name="T65" fmla="*/ 125 h 504"/>
                <a:gd name="T66" fmla="*/ 212 w 214"/>
                <a:gd name="T67" fmla="*/ 104 h 504"/>
                <a:gd name="T68" fmla="*/ 214 w 214"/>
                <a:gd name="T69" fmla="*/ 87 h 504"/>
                <a:gd name="T70" fmla="*/ 212 w 214"/>
                <a:gd name="T71" fmla="*/ 72 h 504"/>
                <a:gd name="T72" fmla="*/ 206 w 214"/>
                <a:gd name="T73" fmla="*/ 57 h 504"/>
                <a:gd name="T74" fmla="*/ 196 w 214"/>
                <a:gd name="T75" fmla="*/ 45 h 504"/>
                <a:gd name="T76" fmla="*/ 183 w 214"/>
                <a:gd name="T77" fmla="*/ 34 h 504"/>
                <a:gd name="T78" fmla="*/ 165 w 214"/>
                <a:gd name="T79" fmla="*/ 23 h 504"/>
                <a:gd name="T80" fmla="*/ 136 w 214"/>
                <a:gd name="T81" fmla="*/ 9 h 504"/>
                <a:gd name="T82" fmla="*/ 104 w 214"/>
                <a:gd name="T83" fmla="*/ 1 h 5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4" h="504">
                  <a:moveTo>
                    <a:pt x="91" y="0"/>
                  </a:moveTo>
                  <a:lnTo>
                    <a:pt x="85" y="0"/>
                  </a:lnTo>
                  <a:lnTo>
                    <a:pt x="80" y="1"/>
                  </a:lnTo>
                  <a:lnTo>
                    <a:pt x="74" y="2"/>
                  </a:lnTo>
                  <a:lnTo>
                    <a:pt x="69" y="4"/>
                  </a:lnTo>
                  <a:lnTo>
                    <a:pt x="65" y="6"/>
                  </a:lnTo>
                  <a:lnTo>
                    <a:pt x="60" y="9"/>
                  </a:lnTo>
                  <a:lnTo>
                    <a:pt x="56" y="13"/>
                  </a:lnTo>
                  <a:lnTo>
                    <a:pt x="51" y="17"/>
                  </a:lnTo>
                  <a:lnTo>
                    <a:pt x="44" y="29"/>
                  </a:lnTo>
                  <a:lnTo>
                    <a:pt x="37" y="41"/>
                  </a:lnTo>
                  <a:lnTo>
                    <a:pt x="31" y="57"/>
                  </a:lnTo>
                  <a:lnTo>
                    <a:pt x="26" y="76"/>
                  </a:lnTo>
                  <a:lnTo>
                    <a:pt x="19" y="102"/>
                  </a:lnTo>
                  <a:lnTo>
                    <a:pt x="13" y="130"/>
                  </a:lnTo>
                  <a:lnTo>
                    <a:pt x="9" y="155"/>
                  </a:lnTo>
                  <a:lnTo>
                    <a:pt x="5" y="181"/>
                  </a:lnTo>
                  <a:lnTo>
                    <a:pt x="2" y="206"/>
                  </a:lnTo>
                  <a:lnTo>
                    <a:pt x="0" y="231"/>
                  </a:lnTo>
                  <a:lnTo>
                    <a:pt x="0" y="254"/>
                  </a:lnTo>
                  <a:lnTo>
                    <a:pt x="0" y="278"/>
                  </a:lnTo>
                  <a:lnTo>
                    <a:pt x="2" y="299"/>
                  </a:lnTo>
                  <a:lnTo>
                    <a:pt x="5" y="321"/>
                  </a:lnTo>
                  <a:lnTo>
                    <a:pt x="9" y="341"/>
                  </a:lnTo>
                  <a:lnTo>
                    <a:pt x="14" y="360"/>
                  </a:lnTo>
                  <a:lnTo>
                    <a:pt x="19" y="380"/>
                  </a:lnTo>
                  <a:lnTo>
                    <a:pt x="26" y="397"/>
                  </a:lnTo>
                  <a:lnTo>
                    <a:pt x="33" y="413"/>
                  </a:lnTo>
                  <a:lnTo>
                    <a:pt x="42" y="429"/>
                  </a:lnTo>
                  <a:lnTo>
                    <a:pt x="51" y="443"/>
                  </a:lnTo>
                  <a:lnTo>
                    <a:pt x="63" y="456"/>
                  </a:lnTo>
                  <a:lnTo>
                    <a:pt x="74" y="468"/>
                  </a:lnTo>
                  <a:lnTo>
                    <a:pt x="87" y="478"/>
                  </a:lnTo>
                  <a:lnTo>
                    <a:pt x="100" y="486"/>
                  </a:lnTo>
                  <a:lnTo>
                    <a:pt x="115" y="493"/>
                  </a:lnTo>
                  <a:lnTo>
                    <a:pt x="130" y="498"/>
                  </a:lnTo>
                  <a:lnTo>
                    <a:pt x="145" y="502"/>
                  </a:lnTo>
                  <a:lnTo>
                    <a:pt x="154" y="504"/>
                  </a:lnTo>
                  <a:lnTo>
                    <a:pt x="164" y="504"/>
                  </a:lnTo>
                  <a:lnTo>
                    <a:pt x="171" y="504"/>
                  </a:lnTo>
                  <a:lnTo>
                    <a:pt x="178" y="503"/>
                  </a:lnTo>
                  <a:lnTo>
                    <a:pt x="184" y="502"/>
                  </a:lnTo>
                  <a:lnTo>
                    <a:pt x="190" y="500"/>
                  </a:lnTo>
                  <a:lnTo>
                    <a:pt x="194" y="497"/>
                  </a:lnTo>
                  <a:lnTo>
                    <a:pt x="197" y="493"/>
                  </a:lnTo>
                  <a:lnTo>
                    <a:pt x="199" y="488"/>
                  </a:lnTo>
                  <a:lnTo>
                    <a:pt x="199" y="484"/>
                  </a:lnTo>
                  <a:lnTo>
                    <a:pt x="199" y="479"/>
                  </a:lnTo>
                  <a:lnTo>
                    <a:pt x="197" y="475"/>
                  </a:lnTo>
                  <a:lnTo>
                    <a:pt x="191" y="459"/>
                  </a:lnTo>
                  <a:lnTo>
                    <a:pt x="185" y="442"/>
                  </a:lnTo>
                  <a:lnTo>
                    <a:pt x="180" y="424"/>
                  </a:lnTo>
                  <a:lnTo>
                    <a:pt x="175" y="404"/>
                  </a:lnTo>
                  <a:lnTo>
                    <a:pt x="172" y="384"/>
                  </a:lnTo>
                  <a:lnTo>
                    <a:pt x="169" y="362"/>
                  </a:lnTo>
                  <a:lnTo>
                    <a:pt x="167" y="341"/>
                  </a:lnTo>
                  <a:lnTo>
                    <a:pt x="167" y="319"/>
                  </a:lnTo>
                  <a:lnTo>
                    <a:pt x="167" y="295"/>
                  </a:lnTo>
                  <a:lnTo>
                    <a:pt x="168" y="273"/>
                  </a:lnTo>
                  <a:lnTo>
                    <a:pt x="170" y="249"/>
                  </a:lnTo>
                  <a:lnTo>
                    <a:pt x="174" y="226"/>
                  </a:lnTo>
                  <a:lnTo>
                    <a:pt x="179" y="202"/>
                  </a:lnTo>
                  <a:lnTo>
                    <a:pt x="185" y="180"/>
                  </a:lnTo>
                  <a:lnTo>
                    <a:pt x="192" y="157"/>
                  </a:lnTo>
                  <a:lnTo>
                    <a:pt x="200" y="135"/>
                  </a:lnTo>
                  <a:lnTo>
                    <a:pt x="205" y="125"/>
                  </a:lnTo>
                  <a:lnTo>
                    <a:pt x="209" y="114"/>
                  </a:lnTo>
                  <a:lnTo>
                    <a:pt x="212" y="104"/>
                  </a:lnTo>
                  <a:lnTo>
                    <a:pt x="213" y="96"/>
                  </a:lnTo>
                  <a:lnTo>
                    <a:pt x="214" y="87"/>
                  </a:lnTo>
                  <a:lnTo>
                    <a:pt x="214" y="79"/>
                  </a:lnTo>
                  <a:lnTo>
                    <a:pt x="212" y="72"/>
                  </a:lnTo>
                  <a:lnTo>
                    <a:pt x="210" y="64"/>
                  </a:lnTo>
                  <a:lnTo>
                    <a:pt x="206" y="57"/>
                  </a:lnTo>
                  <a:lnTo>
                    <a:pt x="202" y="51"/>
                  </a:lnTo>
                  <a:lnTo>
                    <a:pt x="196" y="45"/>
                  </a:lnTo>
                  <a:lnTo>
                    <a:pt x="190" y="39"/>
                  </a:lnTo>
                  <a:lnTo>
                    <a:pt x="183" y="34"/>
                  </a:lnTo>
                  <a:lnTo>
                    <a:pt x="175" y="28"/>
                  </a:lnTo>
                  <a:lnTo>
                    <a:pt x="165" y="23"/>
                  </a:lnTo>
                  <a:lnTo>
                    <a:pt x="154" y="17"/>
                  </a:lnTo>
                  <a:lnTo>
                    <a:pt x="136" y="9"/>
                  </a:lnTo>
                  <a:lnTo>
                    <a:pt x="119" y="4"/>
                  </a:lnTo>
                  <a:lnTo>
                    <a:pt x="104" y="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6" name="Freeform 43"/>
            <p:cNvSpPr>
              <a:spLocks/>
            </p:cNvSpPr>
            <p:nvPr userDrawn="1"/>
          </p:nvSpPr>
          <p:spPr bwMode="auto">
            <a:xfrm>
              <a:off x="6966" y="608"/>
              <a:ext cx="26" cy="41"/>
            </a:xfrm>
            <a:custGeom>
              <a:avLst/>
              <a:gdLst>
                <a:gd name="T0" fmla="*/ 91 w 315"/>
                <a:gd name="T1" fmla="*/ 120 h 486"/>
                <a:gd name="T2" fmla="*/ 110 w 315"/>
                <a:gd name="T3" fmla="*/ 124 h 486"/>
                <a:gd name="T4" fmla="*/ 128 w 315"/>
                <a:gd name="T5" fmla="*/ 132 h 486"/>
                <a:gd name="T6" fmla="*/ 144 w 315"/>
                <a:gd name="T7" fmla="*/ 143 h 486"/>
                <a:gd name="T8" fmla="*/ 160 w 315"/>
                <a:gd name="T9" fmla="*/ 161 h 486"/>
                <a:gd name="T10" fmla="*/ 172 w 315"/>
                <a:gd name="T11" fmla="*/ 183 h 486"/>
                <a:gd name="T12" fmla="*/ 180 w 315"/>
                <a:gd name="T13" fmla="*/ 206 h 486"/>
                <a:gd name="T14" fmla="*/ 183 w 315"/>
                <a:gd name="T15" fmla="*/ 228 h 486"/>
                <a:gd name="T16" fmla="*/ 181 w 315"/>
                <a:gd name="T17" fmla="*/ 251 h 486"/>
                <a:gd name="T18" fmla="*/ 174 w 315"/>
                <a:gd name="T19" fmla="*/ 279 h 486"/>
                <a:gd name="T20" fmla="*/ 161 w 315"/>
                <a:gd name="T21" fmla="*/ 304 h 486"/>
                <a:gd name="T22" fmla="*/ 144 w 315"/>
                <a:gd name="T23" fmla="*/ 327 h 486"/>
                <a:gd name="T24" fmla="*/ 123 w 315"/>
                <a:gd name="T25" fmla="*/ 347 h 486"/>
                <a:gd name="T26" fmla="*/ 100 w 315"/>
                <a:gd name="T27" fmla="*/ 363 h 486"/>
                <a:gd name="T28" fmla="*/ 74 w 315"/>
                <a:gd name="T29" fmla="*/ 374 h 486"/>
                <a:gd name="T30" fmla="*/ 47 w 315"/>
                <a:gd name="T31" fmla="*/ 380 h 486"/>
                <a:gd name="T32" fmla="*/ 0 w 315"/>
                <a:gd name="T33" fmla="*/ 434 h 486"/>
                <a:gd name="T34" fmla="*/ 74 w 315"/>
                <a:gd name="T35" fmla="*/ 486 h 486"/>
                <a:gd name="T36" fmla="*/ 97 w 315"/>
                <a:gd name="T37" fmla="*/ 484 h 486"/>
                <a:gd name="T38" fmla="*/ 129 w 315"/>
                <a:gd name="T39" fmla="*/ 476 h 486"/>
                <a:gd name="T40" fmla="*/ 172 w 315"/>
                <a:gd name="T41" fmla="*/ 460 h 486"/>
                <a:gd name="T42" fmla="*/ 213 w 315"/>
                <a:gd name="T43" fmla="*/ 435 h 486"/>
                <a:gd name="T44" fmla="*/ 250 w 315"/>
                <a:gd name="T45" fmla="*/ 406 h 486"/>
                <a:gd name="T46" fmla="*/ 273 w 315"/>
                <a:gd name="T47" fmla="*/ 379 h 486"/>
                <a:gd name="T48" fmla="*/ 286 w 315"/>
                <a:gd name="T49" fmla="*/ 361 h 486"/>
                <a:gd name="T50" fmla="*/ 297 w 315"/>
                <a:gd name="T51" fmla="*/ 340 h 486"/>
                <a:gd name="T52" fmla="*/ 306 w 315"/>
                <a:gd name="T53" fmla="*/ 320 h 486"/>
                <a:gd name="T54" fmla="*/ 312 w 315"/>
                <a:gd name="T55" fmla="*/ 297 h 486"/>
                <a:gd name="T56" fmla="*/ 315 w 315"/>
                <a:gd name="T57" fmla="*/ 275 h 486"/>
                <a:gd name="T58" fmla="*/ 315 w 315"/>
                <a:gd name="T59" fmla="*/ 249 h 486"/>
                <a:gd name="T60" fmla="*/ 312 w 315"/>
                <a:gd name="T61" fmla="*/ 221 h 486"/>
                <a:gd name="T62" fmla="*/ 306 w 315"/>
                <a:gd name="T63" fmla="*/ 194 h 486"/>
                <a:gd name="T64" fmla="*/ 298 w 315"/>
                <a:gd name="T65" fmla="*/ 169 h 486"/>
                <a:gd name="T66" fmla="*/ 287 w 315"/>
                <a:gd name="T67" fmla="*/ 144 h 486"/>
                <a:gd name="T68" fmla="*/ 274 w 315"/>
                <a:gd name="T69" fmla="*/ 122 h 486"/>
                <a:gd name="T70" fmla="*/ 259 w 315"/>
                <a:gd name="T71" fmla="*/ 101 h 486"/>
                <a:gd name="T72" fmla="*/ 243 w 315"/>
                <a:gd name="T73" fmla="*/ 82 h 486"/>
                <a:gd name="T74" fmla="*/ 224 w 315"/>
                <a:gd name="T75" fmla="*/ 65 h 486"/>
                <a:gd name="T76" fmla="*/ 205 w 315"/>
                <a:gd name="T77" fmla="*/ 49 h 486"/>
                <a:gd name="T78" fmla="*/ 184 w 315"/>
                <a:gd name="T79" fmla="*/ 36 h 486"/>
                <a:gd name="T80" fmla="*/ 163 w 315"/>
                <a:gd name="T81" fmla="*/ 25 h 486"/>
                <a:gd name="T82" fmla="*/ 141 w 315"/>
                <a:gd name="T83" fmla="*/ 15 h 486"/>
                <a:gd name="T84" fmla="*/ 118 w 315"/>
                <a:gd name="T85" fmla="*/ 7 h 486"/>
                <a:gd name="T86" fmla="*/ 95 w 315"/>
                <a:gd name="T87" fmla="*/ 3 h 486"/>
                <a:gd name="T88" fmla="*/ 72 w 315"/>
                <a:gd name="T89" fmla="*/ 0 h 486"/>
                <a:gd name="T90" fmla="*/ 21 w 315"/>
                <a:gd name="T91" fmla="*/ 68 h 4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15" h="486">
                  <a:moveTo>
                    <a:pt x="80" y="120"/>
                  </a:moveTo>
                  <a:lnTo>
                    <a:pt x="91" y="120"/>
                  </a:lnTo>
                  <a:lnTo>
                    <a:pt x="101" y="122"/>
                  </a:lnTo>
                  <a:lnTo>
                    <a:pt x="110" y="124"/>
                  </a:lnTo>
                  <a:lnTo>
                    <a:pt x="119" y="128"/>
                  </a:lnTo>
                  <a:lnTo>
                    <a:pt x="128" y="132"/>
                  </a:lnTo>
                  <a:lnTo>
                    <a:pt x="136" y="137"/>
                  </a:lnTo>
                  <a:lnTo>
                    <a:pt x="144" y="143"/>
                  </a:lnTo>
                  <a:lnTo>
                    <a:pt x="151" y="150"/>
                  </a:lnTo>
                  <a:lnTo>
                    <a:pt x="160" y="161"/>
                  </a:lnTo>
                  <a:lnTo>
                    <a:pt x="167" y="172"/>
                  </a:lnTo>
                  <a:lnTo>
                    <a:pt x="172" y="183"/>
                  </a:lnTo>
                  <a:lnTo>
                    <a:pt x="177" y="194"/>
                  </a:lnTo>
                  <a:lnTo>
                    <a:pt x="180" y="206"/>
                  </a:lnTo>
                  <a:lnTo>
                    <a:pt x="182" y="218"/>
                  </a:lnTo>
                  <a:lnTo>
                    <a:pt x="183" y="228"/>
                  </a:lnTo>
                  <a:lnTo>
                    <a:pt x="183" y="237"/>
                  </a:lnTo>
                  <a:lnTo>
                    <a:pt x="181" y="251"/>
                  </a:lnTo>
                  <a:lnTo>
                    <a:pt x="178" y="266"/>
                  </a:lnTo>
                  <a:lnTo>
                    <a:pt x="174" y="279"/>
                  </a:lnTo>
                  <a:lnTo>
                    <a:pt x="168" y="292"/>
                  </a:lnTo>
                  <a:lnTo>
                    <a:pt x="161" y="304"/>
                  </a:lnTo>
                  <a:lnTo>
                    <a:pt x="153" y="317"/>
                  </a:lnTo>
                  <a:lnTo>
                    <a:pt x="144" y="327"/>
                  </a:lnTo>
                  <a:lnTo>
                    <a:pt x="134" y="338"/>
                  </a:lnTo>
                  <a:lnTo>
                    <a:pt x="123" y="347"/>
                  </a:lnTo>
                  <a:lnTo>
                    <a:pt x="112" y="355"/>
                  </a:lnTo>
                  <a:lnTo>
                    <a:pt x="100" y="363"/>
                  </a:lnTo>
                  <a:lnTo>
                    <a:pt x="87" y="369"/>
                  </a:lnTo>
                  <a:lnTo>
                    <a:pt x="74" y="374"/>
                  </a:lnTo>
                  <a:lnTo>
                    <a:pt x="61" y="378"/>
                  </a:lnTo>
                  <a:lnTo>
                    <a:pt x="47" y="380"/>
                  </a:lnTo>
                  <a:lnTo>
                    <a:pt x="33" y="381"/>
                  </a:lnTo>
                  <a:lnTo>
                    <a:pt x="0" y="434"/>
                  </a:lnTo>
                  <a:lnTo>
                    <a:pt x="64" y="486"/>
                  </a:lnTo>
                  <a:lnTo>
                    <a:pt x="74" y="486"/>
                  </a:lnTo>
                  <a:lnTo>
                    <a:pt x="85" y="485"/>
                  </a:lnTo>
                  <a:lnTo>
                    <a:pt x="97" y="484"/>
                  </a:lnTo>
                  <a:lnTo>
                    <a:pt x="107" y="482"/>
                  </a:lnTo>
                  <a:lnTo>
                    <a:pt x="129" y="476"/>
                  </a:lnTo>
                  <a:lnTo>
                    <a:pt x="151" y="469"/>
                  </a:lnTo>
                  <a:lnTo>
                    <a:pt x="172" y="460"/>
                  </a:lnTo>
                  <a:lnTo>
                    <a:pt x="194" y="448"/>
                  </a:lnTo>
                  <a:lnTo>
                    <a:pt x="213" y="435"/>
                  </a:lnTo>
                  <a:lnTo>
                    <a:pt x="232" y="421"/>
                  </a:lnTo>
                  <a:lnTo>
                    <a:pt x="250" y="406"/>
                  </a:lnTo>
                  <a:lnTo>
                    <a:pt x="266" y="388"/>
                  </a:lnTo>
                  <a:lnTo>
                    <a:pt x="273" y="379"/>
                  </a:lnTo>
                  <a:lnTo>
                    <a:pt x="279" y="370"/>
                  </a:lnTo>
                  <a:lnTo>
                    <a:pt x="286" y="361"/>
                  </a:lnTo>
                  <a:lnTo>
                    <a:pt x="291" y="350"/>
                  </a:lnTo>
                  <a:lnTo>
                    <a:pt x="297" y="340"/>
                  </a:lnTo>
                  <a:lnTo>
                    <a:pt x="302" y="330"/>
                  </a:lnTo>
                  <a:lnTo>
                    <a:pt x="306" y="320"/>
                  </a:lnTo>
                  <a:lnTo>
                    <a:pt x="309" y="309"/>
                  </a:lnTo>
                  <a:lnTo>
                    <a:pt x="312" y="297"/>
                  </a:lnTo>
                  <a:lnTo>
                    <a:pt x="314" y="287"/>
                  </a:lnTo>
                  <a:lnTo>
                    <a:pt x="315" y="275"/>
                  </a:lnTo>
                  <a:lnTo>
                    <a:pt x="315" y="264"/>
                  </a:lnTo>
                  <a:lnTo>
                    <a:pt x="315" y="249"/>
                  </a:lnTo>
                  <a:lnTo>
                    <a:pt x="314" y="235"/>
                  </a:lnTo>
                  <a:lnTo>
                    <a:pt x="312" y="221"/>
                  </a:lnTo>
                  <a:lnTo>
                    <a:pt x="309" y="207"/>
                  </a:lnTo>
                  <a:lnTo>
                    <a:pt x="306" y="194"/>
                  </a:lnTo>
                  <a:lnTo>
                    <a:pt x="302" y="181"/>
                  </a:lnTo>
                  <a:lnTo>
                    <a:pt x="298" y="169"/>
                  </a:lnTo>
                  <a:lnTo>
                    <a:pt x="293" y="156"/>
                  </a:lnTo>
                  <a:lnTo>
                    <a:pt x="287" y="144"/>
                  </a:lnTo>
                  <a:lnTo>
                    <a:pt x="280" y="133"/>
                  </a:lnTo>
                  <a:lnTo>
                    <a:pt x="274" y="122"/>
                  </a:lnTo>
                  <a:lnTo>
                    <a:pt x="267" y="112"/>
                  </a:lnTo>
                  <a:lnTo>
                    <a:pt x="259" y="101"/>
                  </a:lnTo>
                  <a:lnTo>
                    <a:pt x="251" y="91"/>
                  </a:lnTo>
                  <a:lnTo>
                    <a:pt x="243" y="82"/>
                  </a:lnTo>
                  <a:lnTo>
                    <a:pt x="233" y="73"/>
                  </a:lnTo>
                  <a:lnTo>
                    <a:pt x="224" y="65"/>
                  </a:lnTo>
                  <a:lnTo>
                    <a:pt x="215" y="56"/>
                  </a:lnTo>
                  <a:lnTo>
                    <a:pt x="205" y="49"/>
                  </a:lnTo>
                  <a:lnTo>
                    <a:pt x="195" y="42"/>
                  </a:lnTo>
                  <a:lnTo>
                    <a:pt x="184" y="36"/>
                  </a:lnTo>
                  <a:lnTo>
                    <a:pt x="174" y="30"/>
                  </a:lnTo>
                  <a:lnTo>
                    <a:pt x="163" y="25"/>
                  </a:lnTo>
                  <a:lnTo>
                    <a:pt x="152" y="20"/>
                  </a:lnTo>
                  <a:lnTo>
                    <a:pt x="141" y="15"/>
                  </a:lnTo>
                  <a:lnTo>
                    <a:pt x="129" y="12"/>
                  </a:lnTo>
                  <a:lnTo>
                    <a:pt x="118" y="7"/>
                  </a:lnTo>
                  <a:lnTo>
                    <a:pt x="107" y="5"/>
                  </a:lnTo>
                  <a:lnTo>
                    <a:pt x="95" y="3"/>
                  </a:lnTo>
                  <a:lnTo>
                    <a:pt x="83" y="1"/>
                  </a:lnTo>
                  <a:lnTo>
                    <a:pt x="72" y="0"/>
                  </a:lnTo>
                  <a:lnTo>
                    <a:pt x="60" y="0"/>
                  </a:lnTo>
                  <a:lnTo>
                    <a:pt x="21" y="68"/>
                  </a:lnTo>
                  <a:lnTo>
                    <a:pt x="80" y="1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7" name="Freeform 44"/>
            <p:cNvSpPr>
              <a:spLocks/>
            </p:cNvSpPr>
            <p:nvPr userDrawn="1"/>
          </p:nvSpPr>
          <p:spPr bwMode="auto">
            <a:xfrm>
              <a:off x="6884" y="562"/>
              <a:ext cx="92" cy="118"/>
            </a:xfrm>
            <a:custGeom>
              <a:avLst/>
              <a:gdLst>
                <a:gd name="T0" fmla="*/ 1007 w 1095"/>
                <a:gd name="T1" fmla="*/ 693 h 1421"/>
                <a:gd name="T2" fmla="*/ 952 w 1095"/>
                <a:gd name="T3" fmla="*/ 735 h 1421"/>
                <a:gd name="T4" fmla="*/ 915 w 1095"/>
                <a:gd name="T5" fmla="*/ 791 h 1421"/>
                <a:gd name="T6" fmla="*/ 906 w 1095"/>
                <a:gd name="T7" fmla="*/ 852 h 1421"/>
                <a:gd name="T8" fmla="*/ 929 w 1095"/>
                <a:gd name="T9" fmla="*/ 906 h 1421"/>
                <a:gd name="T10" fmla="*/ 974 w 1095"/>
                <a:gd name="T11" fmla="*/ 937 h 1421"/>
                <a:gd name="T12" fmla="*/ 1040 w 1095"/>
                <a:gd name="T13" fmla="*/ 1047 h 1421"/>
                <a:gd name="T14" fmla="*/ 955 w 1095"/>
                <a:gd name="T15" fmla="*/ 1038 h 1421"/>
                <a:gd name="T16" fmla="*/ 881 w 1095"/>
                <a:gd name="T17" fmla="*/ 1012 h 1421"/>
                <a:gd name="T18" fmla="*/ 821 w 1095"/>
                <a:gd name="T19" fmla="*/ 976 h 1421"/>
                <a:gd name="T20" fmla="*/ 774 w 1095"/>
                <a:gd name="T21" fmla="*/ 931 h 1421"/>
                <a:gd name="T22" fmla="*/ 741 w 1095"/>
                <a:gd name="T23" fmla="*/ 883 h 1421"/>
                <a:gd name="T24" fmla="*/ 726 w 1095"/>
                <a:gd name="T25" fmla="*/ 835 h 1421"/>
                <a:gd name="T26" fmla="*/ 728 w 1095"/>
                <a:gd name="T27" fmla="*/ 774 h 1421"/>
                <a:gd name="T28" fmla="*/ 749 w 1095"/>
                <a:gd name="T29" fmla="*/ 723 h 1421"/>
                <a:gd name="T30" fmla="*/ 650 w 1095"/>
                <a:gd name="T31" fmla="*/ 723 h 1421"/>
                <a:gd name="T32" fmla="*/ 491 w 1095"/>
                <a:gd name="T33" fmla="*/ 745 h 1421"/>
                <a:gd name="T34" fmla="*/ 462 w 1095"/>
                <a:gd name="T35" fmla="*/ 886 h 1421"/>
                <a:gd name="T36" fmla="*/ 435 w 1095"/>
                <a:gd name="T37" fmla="*/ 1103 h 1421"/>
                <a:gd name="T38" fmla="*/ 427 w 1095"/>
                <a:gd name="T39" fmla="*/ 1291 h 1421"/>
                <a:gd name="T40" fmla="*/ 431 w 1095"/>
                <a:gd name="T41" fmla="*/ 1398 h 1421"/>
                <a:gd name="T42" fmla="*/ 416 w 1095"/>
                <a:gd name="T43" fmla="*/ 1418 h 1421"/>
                <a:gd name="T44" fmla="*/ 378 w 1095"/>
                <a:gd name="T45" fmla="*/ 1418 h 1421"/>
                <a:gd name="T46" fmla="*/ 337 w 1095"/>
                <a:gd name="T47" fmla="*/ 1390 h 1421"/>
                <a:gd name="T48" fmla="*/ 310 w 1095"/>
                <a:gd name="T49" fmla="*/ 1337 h 1421"/>
                <a:gd name="T50" fmla="*/ 293 w 1095"/>
                <a:gd name="T51" fmla="*/ 1256 h 1421"/>
                <a:gd name="T52" fmla="*/ 288 w 1095"/>
                <a:gd name="T53" fmla="*/ 1109 h 1421"/>
                <a:gd name="T54" fmla="*/ 313 w 1095"/>
                <a:gd name="T55" fmla="*/ 843 h 1421"/>
                <a:gd name="T56" fmla="*/ 226 w 1095"/>
                <a:gd name="T57" fmla="*/ 803 h 1421"/>
                <a:gd name="T58" fmla="*/ 161 w 1095"/>
                <a:gd name="T59" fmla="*/ 831 h 1421"/>
                <a:gd name="T60" fmla="*/ 125 w 1095"/>
                <a:gd name="T61" fmla="*/ 840 h 1421"/>
                <a:gd name="T62" fmla="*/ 86 w 1095"/>
                <a:gd name="T63" fmla="*/ 834 h 1421"/>
                <a:gd name="T64" fmla="*/ 24 w 1095"/>
                <a:gd name="T65" fmla="*/ 796 h 1421"/>
                <a:gd name="T66" fmla="*/ 0 w 1095"/>
                <a:gd name="T67" fmla="*/ 762 h 1421"/>
                <a:gd name="T68" fmla="*/ 8 w 1095"/>
                <a:gd name="T69" fmla="*/ 740 h 1421"/>
                <a:gd name="T70" fmla="*/ 62 w 1095"/>
                <a:gd name="T71" fmla="*/ 713 h 1421"/>
                <a:gd name="T72" fmla="*/ 251 w 1095"/>
                <a:gd name="T73" fmla="*/ 663 h 1421"/>
                <a:gd name="T74" fmla="*/ 364 w 1095"/>
                <a:gd name="T75" fmla="*/ 577 h 1421"/>
                <a:gd name="T76" fmla="*/ 431 w 1095"/>
                <a:gd name="T77" fmla="*/ 350 h 1421"/>
                <a:gd name="T78" fmla="*/ 514 w 1095"/>
                <a:gd name="T79" fmla="*/ 162 h 1421"/>
                <a:gd name="T80" fmla="*/ 599 w 1095"/>
                <a:gd name="T81" fmla="*/ 34 h 1421"/>
                <a:gd name="T82" fmla="*/ 669 w 1095"/>
                <a:gd name="T83" fmla="*/ 1 h 1421"/>
                <a:gd name="T84" fmla="*/ 732 w 1095"/>
                <a:gd name="T85" fmla="*/ 7 h 1421"/>
                <a:gd name="T86" fmla="*/ 799 w 1095"/>
                <a:gd name="T87" fmla="*/ 37 h 1421"/>
                <a:gd name="T88" fmla="*/ 852 w 1095"/>
                <a:gd name="T89" fmla="*/ 97 h 1421"/>
                <a:gd name="T90" fmla="*/ 866 w 1095"/>
                <a:gd name="T91" fmla="*/ 159 h 1421"/>
                <a:gd name="T92" fmla="*/ 852 w 1095"/>
                <a:gd name="T93" fmla="*/ 204 h 1421"/>
                <a:gd name="T94" fmla="*/ 824 w 1095"/>
                <a:gd name="T95" fmla="*/ 224 h 1421"/>
                <a:gd name="T96" fmla="*/ 807 w 1095"/>
                <a:gd name="T97" fmla="*/ 220 h 1421"/>
                <a:gd name="T98" fmla="*/ 778 w 1095"/>
                <a:gd name="T99" fmla="*/ 172 h 1421"/>
                <a:gd name="T100" fmla="*/ 731 w 1095"/>
                <a:gd name="T101" fmla="*/ 149 h 1421"/>
                <a:gd name="T102" fmla="*/ 697 w 1095"/>
                <a:gd name="T103" fmla="*/ 160 h 1421"/>
                <a:gd name="T104" fmla="*/ 660 w 1095"/>
                <a:gd name="T105" fmla="*/ 210 h 1421"/>
                <a:gd name="T106" fmla="*/ 601 w 1095"/>
                <a:gd name="T107" fmla="*/ 339 h 1421"/>
                <a:gd name="T108" fmla="*/ 514 w 1095"/>
                <a:gd name="T109" fmla="*/ 627 h 1421"/>
                <a:gd name="T110" fmla="*/ 618 w 1095"/>
                <a:gd name="T111" fmla="*/ 629 h 1421"/>
                <a:gd name="T112" fmla="*/ 798 w 1095"/>
                <a:gd name="T113" fmla="*/ 626 h 1421"/>
                <a:gd name="T114" fmla="*/ 892 w 1095"/>
                <a:gd name="T115" fmla="*/ 627 h 1421"/>
                <a:gd name="T116" fmla="*/ 961 w 1095"/>
                <a:gd name="T117" fmla="*/ 578 h 1421"/>
                <a:gd name="T118" fmla="*/ 1027 w 1095"/>
                <a:gd name="T119" fmla="*/ 561 h 14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095" h="1421">
                  <a:moveTo>
                    <a:pt x="1056" y="681"/>
                  </a:moveTo>
                  <a:lnTo>
                    <a:pt x="1044" y="682"/>
                  </a:lnTo>
                  <a:lnTo>
                    <a:pt x="1032" y="684"/>
                  </a:lnTo>
                  <a:lnTo>
                    <a:pt x="1020" y="688"/>
                  </a:lnTo>
                  <a:lnTo>
                    <a:pt x="1007" y="693"/>
                  </a:lnTo>
                  <a:lnTo>
                    <a:pt x="995" y="699"/>
                  </a:lnTo>
                  <a:lnTo>
                    <a:pt x="984" y="707"/>
                  </a:lnTo>
                  <a:lnTo>
                    <a:pt x="973" y="715"/>
                  </a:lnTo>
                  <a:lnTo>
                    <a:pt x="961" y="725"/>
                  </a:lnTo>
                  <a:lnTo>
                    <a:pt x="952" y="735"/>
                  </a:lnTo>
                  <a:lnTo>
                    <a:pt x="943" y="745"/>
                  </a:lnTo>
                  <a:lnTo>
                    <a:pt x="934" y="756"/>
                  </a:lnTo>
                  <a:lnTo>
                    <a:pt x="927" y="767"/>
                  </a:lnTo>
                  <a:lnTo>
                    <a:pt x="921" y="779"/>
                  </a:lnTo>
                  <a:lnTo>
                    <a:pt x="915" y="791"/>
                  </a:lnTo>
                  <a:lnTo>
                    <a:pt x="910" y="802"/>
                  </a:lnTo>
                  <a:lnTo>
                    <a:pt x="908" y="813"/>
                  </a:lnTo>
                  <a:lnTo>
                    <a:pt x="906" y="827"/>
                  </a:lnTo>
                  <a:lnTo>
                    <a:pt x="905" y="839"/>
                  </a:lnTo>
                  <a:lnTo>
                    <a:pt x="906" y="852"/>
                  </a:lnTo>
                  <a:lnTo>
                    <a:pt x="908" y="863"/>
                  </a:lnTo>
                  <a:lnTo>
                    <a:pt x="912" y="876"/>
                  </a:lnTo>
                  <a:lnTo>
                    <a:pt x="917" y="886"/>
                  </a:lnTo>
                  <a:lnTo>
                    <a:pt x="922" y="897"/>
                  </a:lnTo>
                  <a:lnTo>
                    <a:pt x="929" y="906"/>
                  </a:lnTo>
                  <a:lnTo>
                    <a:pt x="936" y="914"/>
                  </a:lnTo>
                  <a:lnTo>
                    <a:pt x="945" y="922"/>
                  </a:lnTo>
                  <a:lnTo>
                    <a:pt x="953" y="928"/>
                  </a:lnTo>
                  <a:lnTo>
                    <a:pt x="964" y="933"/>
                  </a:lnTo>
                  <a:lnTo>
                    <a:pt x="974" y="937"/>
                  </a:lnTo>
                  <a:lnTo>
                    <a:pt x="985" y="940"/>
                  </a:lnTo>
                  <a:lnTo>
                    <a:pt x="997" y="941"/>
                  </a:lnTo>
                  <a:lnTo>
                    <a:pt x="1009" y="942"/>
                  </a:lnTo>
                  <a:lnTo>
                    <a:pt x="1073" y="984"/>
                  </a:lnTo>
                  <a:lnTo>
                    <a:pt x="1040" y="1047"/>
                  </a:lnTo>
                  <a:lnTo>
                    <a:pt x="1022" y="1047"/>
                  </a:lnTo>
                  <a:lnTo>
                    <a:pt x="1004" y="1046"/>
                  </a:lnTo>
                  <a:lnTo>
                    <a:pt x="988" y="1044"/>
                  </a:lnTo>
                  <a:lnTo>
                    <a:pt x="971" y="1041"/>
                  </a:lnTo>
                  <a:lnTo>
                    <a:pt x="955" y="1038"/>
                  </a:lnTo>
                  <a:lnTo>
                    <a:pt x="939" y="1034"/>
                  </a:lnTo>
                  <a:lnTo>
                    <a:pt x="924" y="1030"/>
                  </a:lnTo>
                  <a:lnTo>
                    <a:pt x="909" y="1025"/>
                  </a:lnTo>
                  <a:lnTo>
                    <a:pt x="895" y="1019"/>
                  </a:lnTo>
                  <a:lnTo>
                    <a:pt x="881" y="1012"/>
                  </a:lnTo>
                  <a:lnTo>
                    <a:pt x="869" y="1006"/>
                  </a:lnTo>
                  <a:lnTo>
                    <a:pt x="855" y="999"/>
                  </a:lnTo>
                  <a:lnTo>
                    <a:pt x="843" y="992"/>
                  </a:lnTo>
                  <a:lnTo>
                    <a:pt x="832" y="984"/>
                  </a:lnTo>
                  <a:lnTo>
                    <a:pt x="821" y="976"/>
                  </a:lnTo>
                  <a:lnTo>
                    <a:pt x="810" y="968"/>
                  </a:lnTo>
                  <a:lnTo>
                    <a:pt x="800" y="958"/>
                  </a:lnTo>
                  <a:lnTo>
                    <a:pt x="790" y="949"/>
                  </a:lnTo>
                  <a:lnTo>
                    <a:pt x="782" y="940"/>
                  </a:lnTo>
                  <a:lnTo>
                    <a:pt x="774" y="931"/>
                  </a:lnTo>
                  <a:lnTo>
                    <a:pt x="766" y="922"/>
                  </a:lnTo>
                  <a:lnTo>
                    <a:pt x="759" y="911"/>
                  </a:lnTo>
                  <a:lnTo>
                    <a:pt x="752" y="902"/>
                  </a:lnTo>
                  <a:lnTo>
                    <a:pt x="746" y="892"/>
                  </a:lnTo>
                  <a:lnTo>
                    <a:pt x="741" y="883"/>
                  </a:lnTo>
                  <a:lnTo>
                    <a:pt x="737" y="873"/>
                  </a:lnTo>
                  <a:lnTo>
                    <a:pt x="733" y="863"/>
                  </a:lnTo>
                  <a:lnTo>
                    <a:pt x="730" y="853"/>
                  </a:lnTo>
                  <a:lnTo>
                    <a:pt x="728" y="844"/>
                  </a:lnTo>
                  <a:lnTo>
                    <a:pt x="726" y="835"/>
                  </a:lnTo>
                  <a:lnTo>
                    <a:pt x="725" y="826"/>
                  </a:lnTo>
                  <a:lnTo>
                    <a:pt x="725" y="816"/>
                  </a:lnTo>
                  <a:lnTo>
                    <a:pt x="725" y="801"/>
                  </a:lnTo>
                  <a:lnTo>
                    <a:pt x="726" y="787"/>
                  </a:lnTo>
                  <a:lnTo>
                    <a:pt x="728" y="774"/>
                  </a:lnTo>
                  <a:lnTo>
                    <a:pt x="731" y="761"/>
                  </a:lnTo>
                  <a:lnTo>
                    <a:pt x="734" y="750"/>
                  </a:lnTo>
                  <a:lnTo>
                    <a:pt x="739" y="740"/>
                  </a:lnTo>
                  <a:lnTo>
                    <a:pt x="744" y="731"/>
                  </a:lnTo>
                  <a:lnTo>
                    <a:pt x="749" y="723"/>
                  </a:lnTo>
                  <a:lnTo>
                    <a:pt x="759" y="712"/>
                  </a:lnTo>
                  <a:lnTo>
                    <a:pt x="745" y="713"/>
                  </a:lnTo>
                  <a:lnTo>
                    <a:pt x="714" y="716"/>
                  </a:lnTo>
                  <a:lnTo>
                    <a:pt x="682" y="720"/>
                  </a:lnTo>
                  <a:lnTo>
                    <a:pt x="650" y="723"/>
                  </a:lnTo>
                  <a:lnTo>
                    <a:pt x="619" y="727"/>
                  </a:lnTo>
                  <a:lnTo>
                    <a:pt x="586" y="731"/>
                  </a:lnTo>
                  <a:lnTo>
                    <a:pt x="555" y="735"/>
                  </a:lnTo>
                  <a:lnTo>
                    <a:pt x="523" y="740"/>
                  </a:lnTo>
                  <a:lnTo>
                    <a:pt x="491" y="745"/>
                  </a:lnTo>
                  <a:lnTo>
                    <a:pt x="487" y="745"/>
                  </a:lnTo>
                  <a:lnTo>
                    <a:pt x="487" y="749"/>
                  </a:lnTo>
                  <a:lnTo>
                    <a:pt x="478" y="795"/>
                  </a:lnTo>
                  <a:lnTo>
                    <a:pt x="470" y="841"/>
                  </a:lnTo>
                  <a:lnTo>
                    <a:pt x="462" y="886"/>
                  </a:lnTo>
                  <a:lnTo>
                    <a:pt x="455" y="931"/>
                  </a:lnTo>
                  <a:lnTo>
                    <a:pt x="448" y="976"/>
                  </a:lnTo>
                  <a:lnTo>
                    <a:pt x="443" y="1019"/>
                  </a:lnTo>
                  <a:lnTo>
                    <a:pt x="439" y="1061"/>
                  </a:lnTo>
                  <a:lnTo>
                    <a:pt x="435" y="1103"/>
                  </a:lnTo>
                  <a:lnTo>
                    <a:pt x="432" y="1143"/>
                  </a:lnTo>
                  <a:lnTo>
                    <a:pt x="429" y="1183"/>
                  </a:lnTo>
                  <a:lnTo>
                    <a:pt x="428" y="1221"/>
                  </a:lnTo>
                  <a:lnTo>
                    <a:pt x="427" y="1256"/>
                  </a:lnTo>
                  <a:lnTo>
                    <a:pt x="427" y="1291"/>
                  </a:lnTo>
                  <a:lnTo>
                    <a:pt x="428" y="1323"/>
                  </a:lnTo>
                  <a:lnTo>
                    <a:pt x="429" y="1353"/>
                  </a:lnTo>
                  <a:lnTo>
                    <a:pt x="432" y="1382"/>
                  </a:lnTo>
                  <a:lnTo>
                    <a:pt x="432" y="1391"/>
                  </a:lnTo>
                  <a:lnTo>
                    <a:pt x="431" y="1398"/>
                  </a:lnTo>
                  <a:lnTo>
                    <a:pt x="429" y="1405"/>
                  </a:lnTo>
                  <a:lnTo>
                    <a:pt x="426" y="1411"/>
                  </a:lnTo>
                  <a:lnTo>
                    <a:pt x="423" y="1414"/>
                  </a:lnTo>
                  <a:lnTo>
                    <a:pt x="420" y="1416"/>
                  </a:lnTo>
                  <a:lnTo>
                    <a:pt x="416" y="1418"/>
                  </a:lnTo>
                  <a:lnTo>
                    <a:pt x="413" y="1419"/>
                  </a:lnTo>
                  <a:lnTo>
                    <a:pt x="406" y="1420"/>
                  </a:lnTo>
                  <a:lnTo>
                    <a:pt x="398" y="1421"/>
                  </a:lnTo>
                  <a:lnTo>
                    <a:pt x="388" y="1420"/>
                  </a:lnTo>
                  <a:lnTo>
                    <a:pt x="378" y="1418"/>
                  </a:lnTo>
                  <a:lnTo>
                    <a:pt x="368" y="1414"/>
                  </a:lnTo>
                  <a:lnTo>
                    <a:pt x="359" y="1409"/>
                  </a:lnTo>
                  <a:lnTo>
                    <a:pt x="352" y="1403"/>
                  </a:lnTo>
                  <a:lnTo>
                    <a:pt x="344" y="1397"/>
                  </a:lnTo>
                  <a:lnTo>
                    <a:pt x="337" y="1390"/>
                  </a:lnTo>
                  <a:lnTo>
                    <a:pt x="331" y="1381"/>
                  </a:lnTo>
                  <a:lnTo>
                    <a:pt x="325" y="1372"/>
                  </a:lnTo>
                  <a:lnTo>
                    <a:pt x="319" y="1362"/>
                  </a:lnTo>
                  <a:lnTo>
                    <a:pt x="314" y="1349"/>
                  </a:lnTo>
                  <a:lnTo>
                    <a:pt x="310" y="1337"/>
                  </a:lnTo>
                  <a:lnTo>
                    <a:pt x="306" y="1323"/>
                  </a:lnTo>
                  <a:lnTo>
                    <a:pt x="302" y="1307"/>
                  </a:lnTo>
                  <a:lnTo>
                    <a:pt x="298" y="1292"/>
                  </a:lnTo>
                  <a:lnTo>
                    <a:pt x="295" y="1275"/>
                  </a:lnTo>
                  <a:lnTo>
                    <a:pt x="293" y="1256"/>
                  </a:lnTo>
                  <a:lnTo>
                    <a:pt x="291" y="1237"/>
                  </a:lnTo>
                  <a:lnTo>
                    <a:pt x="289" y="1217"/>
                  </a:lnTo>
                  <a:lnTo>
                    <a:pt x="288" y="1195"/>
                  </a:lnTo>
                  <a:lnTo>
                    <a:pt x="287" y="1154"/>
                  </a:lnTo>
                  <a:lnTo>
                    <a:pt x="288" y="1109"/>
                  </a:lnTo>
                  <a:lnTo>
                    <a:pt x="290" y="1060"/>
                  </a:lnTo>
                  <a:lnTo>
                    <a:pt x="294" y="1009"/>
                  </a:lnTo>
                  <a:lnTo>
                    <a:pt x="298" y="955"/>
                  </a:lnTo>
                  <a:lnTo>
                    <a:pt x="306" y="900"/>
                  </a:lnTo>
                  <a:lnTo>
                    <a:pt x="313" y="843"/>
                  </a:lnTo>
                  <a:lnTo>
                    <a:pt x="322" y="786"/>
                  </a:lnTo>
                  <a:lnTo>
                    <a:pt x="323" y="777"/>
                  </a:lnTo>
                  <a:lnTo>
                    <a:pt x="315" y="779"/>
                  </a:lnTo>
                  <a:lnTo>
                    <a:pt x="267" y="791"/>
                  </a:lnTo>
                  <a:lnTo>
                    <a:pt x="226" y="803"/>
                  </a:lnTo>
                  <a:lnTo>
                    <a:pt x="209" y="809"/>
                  </a:lnTo>
                  <a:lnTo>
                    <a:pt x="193" y="815"/>
                  </a:lnTo>
                  <a:lnTo>
                    <a:pt x="180" y="822"/>
                  </a:lnTo>
                  <a:lnTo>
                    <a:pt x="168" y="827"/>
                  </a:lnTo>
                  <a:lnTo>
                    <a:pt x="161" y="831"/>
                  </a:lnTo>
                  <a:lnTo>
                    <a:pt x="154" y="834"/>
                  </a:lnTo>
                  <a:lnTo>
                    <a:pt x="147" y="836"/>
                  </a:lnTo>
                  <a:lnTo>
                    <a:pt x="139" y="838"/>
                  </a:lnTo>
                  <a:lnTo>
                    <a:pt x="132" y="839"/>
                  </a:lnTo>
                  <a:lnTo>
                    <a:pt x="125" y="840"/>
                  </a:lnTo>
                  <a:lnTo>
                    <a:pt x="117" y="840"/>
                  </a:lnTo>
                  <a:lnTo>
                    <a:pt x="110" y="839"/>
                  </a:lnTo>
                  <a:lnTo>
                    <a:pt x="102" y="838"/>
                  </a:lnTo>
                  <a:lnTo>
                    <a:pt x="94" y="836"/>
                  </a:lnTo>
                  <a:lnTo>
                    <a:pt x="86" y="834"/>
                  </a:lnTo>
                  <a:lnTo>
                    <a:pt x="78" y="830"/>
                  </a:lnTo>
                  <a:lnTo>
                    <a:pt x="62" y="822"/>
                  </a:lnTo>
                  <a:lnTo>
                    <a:pt x="45" y="811"/>
                  </a:lnTo>
                  <a:lnTo>
                    <a:pt x="33" y="803"/>
                  </a:lnTo>
                  <a:lnTo>
                    <a:pt x="24" y="796"/>
                  </a:lnTo>
                  <a:lnTo>
                    <a:pt x="16" y="789"/>
                  </a:lnTo>
                  <a:lnTo>
                    <a:pt x="10" y="782"/>
                  </a:lnTo>
                  <a:lnTo>
                    <a:pt x="5" y="775"/>
                  </a:lnTo>
                  <a:lnTo>
                    <a:pt x="2" y="768"/>
                  </a:lnTo>
                  <a:lnTo>
                    <a:pt x="0" y="762"/>
                  </a:lnTo>
                  <a:lnTo>
                    <a:pt x="0" y="756"/>
                  </a:lnTo>
                  <a:lnTo>
                    <a:pt x="0" y="752"/>
                  </a:lnTo>
                  <a:lnTo>
                    <a:pt x="2" y="748"/>
                  </a:lnTo>
                  <a:lnTo>
                    <a:pt x="5" y="744"/>
                  </a:lnTo>
                  <a:lnTo>
                    <a:pt x="8" y="740"/>
                  </a:lnTo>
                  <a:lnTo>
                    <a:pt x="13" y="736"/>
                  </a:lnTo>
                  <a:lnTo>
                    <a:pt x="18" y="733"/>
                  </a:lnTo>
                  <a:lnTo>
                    <a:pt x="24" y="729"/>
                  </a:lnTo>
                  <a:lnTo>
                    <a:pt x="31" y="726"/>
                  </a:lnTo>
                  <a:lnTo>
                    <a:pt x="62" y="713"/>
                  </a:lnTo>
                  <a:lnTo>
                    <a:pt x="94" y="701"/>
                  </a:lnTo>
                  <a:lnTo>
                    <a:pt x="129" y="691"/>
                  </a:lnTo>
                  <a:lnTo>
                    <a:pt x="167" y="681"/>
                  </a:lnTo>
                  <a:lnTo>
                    <a:pt x="208" y="672"/>
                  </a:lnTo>
                  <a:lnTo>
                    <a:pt x="251" y="663"/>
                  </a:lnTo>
                  <a:lnTo>
                    <a:pt x="295" y="656"/>
                  </a:lnTo>
                  <a:lnTo>
                    <a:pt x="343" y="649"/>
                  </a:lnTo>
                  <a:lnTo>
                    <a:pt x="347" y="649"/>
                  </a:lnTo>
                  <a:lnTo>
                    <a:pt x="348" y="645"/>
                  </a:lnTo>
                  <a:lnTo>
                    <a:pt x="364" y="577"/>
                  </a:lnTo>
                  <a:lnTo>
                    <a:pt x="383" y="503"/>
                  </a:lnTo>
                  <a:lnTo>
                    <a:pt x="393" y="465"/>
                  </a:lnTo>
                  <a:lnTo>
                    <a:pt x="406" y="428"/>
                  </a:lnTo>
                  <a:lnTo>
                    <a:pt x="418" y="389"/>
                  </a:lnTo>
                  <a:lnTo>
                    <a:pt x="431" y="350"/>
                  </a:lnTo>
                  <a:lnTo>
                    <a:pt x="445" y="311"/>
                  </a:lnTo>
                  <a:lnTo>
                    <a:pt x="462" y="272"/>
                  </a:lnTo>
                  <a:lnTo>
                    <a:pt x="478" y="235"/>
                  </a:lnTo>
                  <a:lnTo>
                    <a:pt x="495" y="198"/>
                  </a:lnTo>
                  <a:lnTo>
                    <a:pt x="514" y="162"/>
                  </a:lnTo>
                  <a:lnTo>
                    <a:pt x="533" y="126"/>
                  </a:lnTo>
                  <a:lnTo>
                    <a:pt x="555" y="93"/>
                  </a:lnTo>
                  <a:lnTo>
                    <a:pt x="576" y="61"/>
                  </a:lnTo>
                  <a:lnTo>
                    <a:pt x="588" y="47"/>
                  </a:lnTo>
                  <a:lnTo>
                    <a:pt x="599" y="34"/>
                  </a:lnTo>
                  <a:lnTo>
                    <a:pt x="613" y="23"/>
                  </a:lnTo>
                  <a:lnTo>
                    <a:pt x="626" y="15"/>
                  </a:lnTo>
                  <a:lnTo>
                    <a:pt x="639" y="8"/>
                  </a:lnTo>
                  <a:lnTo>
                    <a:pt x="653" y="3"/>
                  </a:lnTo>
                  <a:lnTo>
                    <a:pt x="669" y="1"/>
                  </a:lnTo>
                  <a:lnTo>
                    <a:pt x="684" y="0"/>
                  </a:lnTo>
                  <a:lnTo>
                    <a:pt x="695" y="0"/>
                  </a:lnTo>
                  <a:lnTo>
                    <a:pt x="708" y="2"/>
                  </a:lnTo>
                  <a:lnTo>
                    <a:pt x="719" y="4"/>
                  </a:lnTo>
                  <a:lnTo>
                    <a:pt x="732" y="7"/>
                  </a:lnTo>
                  <a:lnTo>
                    <a:pt x="744" y="11"/>
                  </a:lnTo>
                  <a:lnTo>
                    <a:pt x="757" y="16"/>
                  </a:lnTo>
                  <a:lnTo>
                    <a:pt x="771" y="22"/>
                  </a:lnTo>
                  <a:lnTo>
                    <a:pt x="785" y="29"/>
                  </a:lnTo>
                  <a:lnTo>
                    <a:pt x="799" y="37"/>
                  </a:lnTo>
                  <a:lnTo>
                    <a:pt x="813" y="47"/>
                  </a:lnTo>
                  <a:lnTo>
                    <a:pt x="825" y="58"/>
                  </a:lnTo>
                  <a:lnTo>
                    <a:pt x="835" y="70"/>
                  </a:lnTo>
                  <a:lnTo>
                    <a:pt x="844" y="83"/>
                  </a:lnTo>
                  <a:lnTo>
                    <a:pt x="852" y="97"/>
                  </a:lnTo>
                  <a:lnTo>
                    <a:pt x="858" y="111"/>
                  </a:lnTo>
                  <a:lnTo>
                    <a:pt x="863" y="126"/>
                  </a:lnTo>
                  <a:lnTo>
                    <a:pt x="865" y="138"/>
                  </a:lnTo>
                  <a:lnTo>
                    <a:pt x="866" y="149"/>
                  </a:lnTo>
                  <a:lnTo>
                    <a:pt x="866" y="159"/>
                  </a:lnTo>
                  <a:lnTo>
                    <a:pt x="865" y="169"/>
                  </a:lnTo>
                  <a:lnTo>
                    <a:pt x="864" y="180"/>
                  </a:lnTo>
                  <a:lnTo>
                    <a:pt x="861" y="188"/>
                  </a:lnTo>
                  <a:lnTo>
                    <a:pt x="856" y="196"/>
                  </a:lnTo>
                  <a:lnTo>
                    <a:pt x="852" y="204"/>
                  </a:lnTo>
                  <a:lnTo>
                    <a:pt x="844" y="213"/>
                  </a:lnTo>
                  <a:lnTo>
                    <a:pt x="836" y="219"/>
                  </a:lnTo>
                  <a:lnTo>
                    <a:pt x="832" y="222"/>
                  </a:lnTo>
                  <a:lnTo>
                    <a:pt x="828" y="223"/>
                  </a:lnTo>
                  <a:lnTo>
                    <a:pt x="824" y="224"/>
                  </a:lnTo>
                  <a:lnTo>
                    <a:pt x="820" y="226"/>
                  </a:lnTo>
                  <a:lnTo>
                    <a:pt x="817" y="224"/>
                  </a:lnTo>
                  <a:lnTo>
                    <a:pt x="813" y="223"/>
                  </a:lnTo>
                  <a:lnTo>
                    <a:pt x="810" y="222"/>
                  </a:lnTo>
                  <a:lnTo>
                    <a:pt x="807" y="220"/>
                  </a:lnTo>
                  <a:lnTo>
                    <a:pt x="802" y="215"/>
                  </a:lnTo>
                  <a:lnTo>
                    <a:pt x="799" y="209"/>
                  </a:lnTo>
                  <a:lnTo>
                    <a:pt x="792" y="195"/>
                  </a:lnTo>
                  <a:lnTo>
                    <a:pt x="785" y="184"/>
                  </a:lnTo>
                  <a:lnTo>
                    <a:pt x="778" y="172"/>
                  </a:lnTo>
                  <a:lnTo>
                    <a:pt x="770" y="164"/>
                  </a:lnTo>
                  <a:lnTo>
                    <a:pt x="761" y="158"/>
                  </a:lnTo>
                  <a:lnTo>
                    <a:pt x="751" y="153"/>
                  </a:lnTo>
                  <a:lnTo>
                    <a:pt x="741" y="150"/>
                  </a:lnTo>
                  <a:lnTo>
                    <a:pt x="731" y="149"/>
                  </a:lnTo>
                  <a:lnTo>
                    <a:pt x="728" y="149"/>
                  </a:lnTo>
                  <a:lnTo>
                    <a:pt x="725" y="150"/>
                  </a:lnTo>
                  <a:lnTo>
                    <a:pt x="715" y="152"/>
                  </a:lnTo>
                  <a:lnTo>
                    <a:pt x="705" y="155"/>
                  </a:lnTo>
                  <a:lnTo>
                    <a:pt x="697" y="160"/>
                  </a:lnTo>
                  <a:lnTo>
                    <a:pt x="689" y="166"/>
                  </a:lnTo>
                  <a:lnTo>
                    <a:pt x="682" y="174"/>
                  </a:lnTo>
                  <a:lnTo>
                    <a:pt x="675" y="185"/>
                  </a:lnTo>
                  <a:lnTo>
                    <a:pt x="668" y="196"/>
                  </a:lnTo>
                  <a:lnTo>
                    <a:pt x="660" y="210"/>
                  </a:lnTo>
                  <a:lnTo>
                    <a:pt x="650" y="229"/>
                  </a:lnTo>
                  <a:lnTo>
                    <a:pt x="640" y="249"/>
                  </a:lnTo>
                  <a:lnTo>
                    <a:pt x="630" y="270"/>
                  </a:lnTo>
                  <a:lnTo>
                    <a:pt x="621" y="292"/>
                  </a:lnTo>
                  <a:lnTo>
                    <a:pt x="601" y="339"/>
                  </a:lnTo>
                  <a:lnTo>
                    <a:pt x="583" y="390"/>
                  </a:lnTo>
                  <a:lnTo>
                    <a:pt x="565" y="444"/>
                  </a:lnTo>
                  <a:lnTo>
                    <a:pt x="547" y="502"/>
                  </a:lnTo>
                  <a:lnTo>
                    <a:pt x="530" y="562"/>
                  </a:lnTo>
                  <a:lnTo>
                    <a:pt x="514" y="627"/>
                  </a:lnTo>
                  <a:lnTo>
                    <a:pt x="512" y="634"/>
                  </a:lnTo>
                  <a:lnTo>
                    <a:pt x="520" y="634"/>
                  </a:lnTo>
                  <a:lnTo>
                    <a:pt x="551" y="632"/>
                  </a:lnTo>
                  <a:lnTo>
                    <a:pt x="584" y="630"/>
                  </a:lnTo>
                  <a:lnTo>
                    <a:pt x="618" y="629"/>
                  </a:lnTo>
                  <a:lnTo>
                    <a:pt x="652" y="628"/>
                  </a:lnTo>
                  <a:lnTo>
                    <a:pt x="688" y="627"/>
                  </a:lnTo>
                  <a:lnTo>
                    <a:pt x="724" y="627"/>
                  </a:lnTo>
                  <a:lnTo>
                    <a:pt x="761" y="626"/>
                  </a:lnTo>
                  <a:lnTo>
                    <a:pt x="798" y="626"/>
                  </a:lnTo>
                  <a:lnTo>
                    <a:pt x="821" y="626"/>
                  </a:lnTo>
                  <a:lnTo>
                    <a:pt x="843" y="626"/>
                  </a:lnTo>
                  <a:lnTo>
                    <a:pt x="867" y="627"/>
                  </a:lnTo>
                  <a:lnTo>
                    <a:pt x="889" y="627"/>
                  </a:lnTo>
                  <a:lnTo>
                    <a:pt x="892" y="627"/>
                  </a:lnTo>
                  <a:lnTo>
                    <a:pt x="893" y="625"/>
                  </a:lnTo>
                  <a:lnTo>
                    <a:pt x="909" y="610"/>
                  </a:lnTo>
                  <a:lnTo>
                    <a:pt x="926" y="598"/>
                  </a:lnTo>
                  <a:lnTo>
                    <a:pt x="943" y="587"/>
                  </a:lnTo>
                  <a:lnTo>
                    <a:pt x="961" y="578"/>
                  </a:lnTo>
                  <a:lnTo>
                    <a:pt x="980" y="570"/>
                  </a:lnTo>
                  <a:lnTo>
                    <a:pt x="998" y="565"/>
                  </a:lnTo>
                  <a:lnTo>
                    <a:pt x="1007" y="563"/>
                  </a:lnTo>
                  <a:lnTo>
                    <a:pt x="1018" y="562"/>
                  </a:lnTo>
                  <a:lnTo>
                    <a:pt x="1027" y="561"/>
                  </a:lnTo>
                  <a:lnTo>
                    <a:pt x="1036" y="561"/>
                  </a:lnTo>
                  <a:lnTo>
                    <a:pt x="1095" y="622"/>
                  </a:lnTo>
                  <a:lnTo>
                    <a:pt x="1056" y="68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8" name="Freeform 45"/>
            <p:cNvSpPr>
              <a:spLocks/>
            </p:cNvSpPr>
            <p:nvPr userDrawn="1"/>
          </p:nvSpPr>
          <p:spPr bwMode="auto">
            <a:xfrm>
              <a:off x="6462" y="602"/>
              <a:ext cx="36" cy="42"/>
            </a:xfrm>
            <a:custGeom>
              <a:avLst/>
              <a:gdLst>
                <a:gd name="T0" fmla="*/ 212 w 427"/>
                <a:gd name="T1" fmla="*/ 377 h 496"/>
                <a:gd name="T2" fmla="*/ 201 w 427"/>
                <a:gd name="T3" fmla="*/ 371 h 496"/>
                <a:gd name="T4" fmla="*/ 196 w 427"/>
                <a:gd name="T5" fmla="*/ 364 h 496"/>
                <a:gd name="T6" fmla="*/ 193 w 427"/>
                <a:gd name="T7" fmla="*/ 355 h 496"/>
                <a:gd name="T8" fmla="*/ 192 w 427"/>
                <a:gd name="T9" fmla="*/ 345 h 496"/>
                <a:gd name="T10" fmla="*/ 193 w 427"/>
                <a:gd name="T11" fmla="*/ 333 h 496"/>
                <a:gd name="T12" fmla="*/ 199 w 427"/>
                <a:gd name="T13" fmla="*/ 315 h 496"/>
                <a:gd name="T14" fmla="*/ 213 w 427"/>
                <a:gd name="T15" fmla="*/ 286 h 496"/>
                <a:gd name="T16" fmla="*/ 235 w 427"/>
                <a:gd name="T17" fmla="*/ 250 h 496"/>
                <a:gd name="T18" fmla="*/ 260 w 427"/>
                <a:gd name="T19" fmla="*/ 212 h 496"/>
                <a:gd name="T20" fmla="*/ 289 w 427"/>
                <a:gd name="T21" fmla="*/ 174 h 496"/>
                <a:gd name="T22" fmla="*/ 318 w 427"/>
                <a:gd name="T23" fmla="*/ 142 h 496"/>
                <a:gd name="T24" fmla="*/ 346 w 427"/>
                <a:gd name="T25" fmla="*/ 116 h 496"/>
                <a:gd name="T26" fmla="*/ 365 w 427"/>
                <a:gd name="T27" fmla="*/ 104 h 496"/>
                <a:gd name="T28" fmla="*/ 377 w 427"/>
                <a:gd name="T29" fmla="*/ 101 h 496"/>
                <a:gd name="T30" fmla="*/ 427 w 427"/>
                <a:gd name="T31" fmla="*/ 50 h 496"/>
                <a:gd name="T32" fmla="*/ 359 w 427"/>
                <a:gd name="T33" fmla="*/ 1 h 496"/>
                <a:gd name="T34" fmla="*/ 331 w 427"/>
                <a:gd name="T35" fmla="*/ 6 h 496"/>
                <a:gd name="T36" fmla="*/ 301 w 427"/>
                <a:gd name="T37" fmla="*/ 17 h 496"/>
                <a:gd name="T38" fmla="*/ 272 w 427"/>
                <a:gd name="T39" fmla="*/ 31 h 496"/>
                <a:gd name="T40" fmla="*/ 241 w 427"/>
                <a:gd name="T41" fmla="*/ 50 h 496"/>
                <a:gd name="T42" fmla="*/ 210 w 427"/>
                <a:gd name="T43" fmla="*/ 72 h 496"/>
                <a:gd name="T44" fmla="*/ 167 w 427"/>
                <a:gd name="T45" fmla="*/ 109 h 496"/>
                <a:gd name="T46" fmla="*/ 112 w 427"/>
                <a:gd name="T47" fmla="*/ 165 h 496"/>
                <a:gd name="T48" fmla="*/ 66 w 427"/>
                <a:gd name="T49" fmla="*/ 222 h 496"/>
                <a:gd name="T50" fmla="*/ 37 w 427"/>
                <a:gd name="T51" fmla="*/ 264 h 496"/>
                <a:gd name="T52" fmla="*/ 22 w 427"/>
                <a:gd name="T53" fmla="*/ 291 h 496"/>
                <a:gd name="T54" fmla="*/ 10 w 427"/>
                <a:gd name="T55" fmla="*/ 315 h 496"/>
                <a:gd name="T56" fmla="*/ 3 w 427"/>
                <a:gd name="T57" fmla="*/ 337 h 496"/>
                <a:gd name="T58" fmla="*/ 0 w 427"/>
                <a:gd name="T59" fmla="*/ 356 h 496"/>
                <a:gd name="T60" fmla="*/ 1 w 427"/>
                <a:gd name="T61" fmla="*/ 374 h 496"/>
                <a:gd name="T62" fmla="*/ 7 w 427"/>
                <a:gd name="T63" fmla="*/ 394 h 496"/>
                <a:gd name="T64" fmla="*/ 19 w 427"/>
                <a:gd name="T65" fmla="*/ 412 h 496"/>
                <a:gd name="T66" fmla="*/ 33 w 427"/>
                <a:gd name="T67" fmla="*/ 429 h 496"/>
                <a:gd name="T68" fmla="*/ 51 w 427"/>
                <a:gd name="T69" fmla="*/ 445 h 496"/>
                <a:gd name="T70" fmla="*/ 72 w 427"/>
                <a:gd name="T71" fmla="*/ 459 h 496"/>
                <a:gd name="T72" fmla="*/ 94 w 427"/>
                <a:gd name="T73" fmla="*/ 471 h 496"/>
                <a:gd name="T74" fmla="*/ 119 w 427"/>
                <a:gd name="T75" fmla="*/ 482 h 496"/>
                <a:gd name="T76" fmla="*/ 144 w 427"/>
                <a:gd name="T77" fmla="*/ 490 h 496"/>
                <a:gd name="T78" fmla="*/ 169 w 427"/>
                <a:gd name="T79" fmla="*/ 494 h 496"/>
                <a:gd name="T80" fmla="*/ 193 w 427"/>
                <a:gd name="T81" fmla="*/ 496 h 496"/>
                <a:gd name="T82" fmla="*/ 262 w 427"/>
                <a:gd name="T83" fmla="*/ 437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27" h="496">
                  <a:moveTo>
                    <a:pt x="222" y="377"/>
                  </a:moveTo>
                  <a:lnTo>
                    <a:pt x="212" y="377"/>
                  </a:lnTo>
                  <a:lnTo>
                    <a:pt x="206" y="374"/>
                  </a:lnTo>
                  <a:lnTo>
                    <a:pt x="201" y="371"/>
                  </a:lnTo>
                  <a:lnTo>
                    <a:pt x="198" y="367"/>
                  </a:lnTo>
                  <a:lnTo>
                    <a:pt x="196" y="364"/>
                  </a:lnTo>
                  <a:lnTo>
                    <a:pt x="194" y="359"/>
                  </a:lnTo>
                  <a:lnTo>
                    <a:pt x="193" y="355"/>
                  </a:lnTo>
                  <a:lnTo>
                    <a:pt x="192" y="350"/>
                  </a:lnTo>
                  <a:lnTo>
                    <a:pt x="192" y="345"/>
                  </a:lnTo>
                  <a:lnTo>
                    <a:pt x="192" y="339"/>
                  </a:lnTo>
                  <a:lnTo>
                    <a:pt x="193" y="333"/>
                  </a:lnTo>
                  <a:lnTo>
                    <a:pt x="195" y="326"/>
                  </a:lnTo>
                  <a:lnTo>
                    <a:pt x="199" y="315"/>
                  </a:lnTo>
                  <a:lnTo>
                    <a:pt x="205" y="302"/>
                  </a:lnTo>
                  <a:lnTo>
                    <a:pt x="213" y="286"/>
                  </a:lnTo>
                  <a:lnTo>
                    <a:pt x="224" y="268"/>
                  </a:lnTo>
                  <a:lnTo>
                    <a:pt x="235" y="250"/>
                  </a:lnTo>
                  <a:lnTo>
                    <a:pt x="247" y="231"/>
                  </a:lnTo>
                  <a:lnTo>
                    <a:pt x="260" y="212"/>
                  </a:lnTo>
                  <a:lnTo>
                    <a:pt x="275" y="193"/>
                  </a:lnTo>
                  <a:lnTo>
                    <a:pt x="289" y="174"/>
                  </a:lnTo>
                  <a:lnTo>
                    <a:pt x="303" y="157"/>
                  </a:lnTo>
                  <a:lnTo>
                    <a:pt x="318" y="142"/>
                  </a:lnTo>
                  <a:lnTo>
                    <a:pt x="333" y="127"/>
                  </a:lnTo>
                  <a:lnTo>
                    <a:pt x="346" y="116"/>
                  </a:lnTo>
                  <a:lnTo>
                    <a:pt x="359" y="107"/>
                  </a:lnTo>
                  <a:lnTo>
                    <a:pt x="365" y="104"/>
                  </a:lnTo>
                  <a:lnTo>
                    <a:pt x="372" y="102"/>
                  </a:lnTo>
                  <a:lnTo>
                    <a:pt x="377" y="101"/>
                  </a:lnTo>
                  <a:lnTo>
                    <a:pt x="383" y="100"/>
                  </a:lnTo>
                  <a:lnTo>
                    <a:pt x="427" y="50"/>
                  </a:lnTo>
                  <a:lnTo>
                    <a:pt x="373" y="0"/>
                  </a:lnTo>
                  <a:lnTo>
                    <a:pt x="359" y="1"/>
                  </a:lnTo>
                  <a:lnTo>
                    <a:pt x="345" y="3"/>
                  </a:lnTo>
                  <a:lnTo>
                    <a:pt x="331" y="6"/>
                  </a:lnTo>
                  <a:lnTo>
                    <a:pt x="316" y="11"/>
                  </a:lnTo>
                  <a:lnTo>
                    <a:pt x="301" y="17"/>
                  </a:lnTo>
                  <a:lnTo>
                    <a:pt x="286" y="23"/>
                  </a:lnTo>
                  <a:lnTo>
                    <a:pt x="272" y="31"/>
                  </a:lnTo>
                  <a:lnTo>
                    <a:pt x="256" y="41"/>
                  </a:lnTo>
                  <a:lnTo>
                    <a:pt x="241" y="50"/>
                  </a:lnTo>
                  <a:lnTo>
                    <a:pt x="226" y="61"/>
                  </a:lnTo>
                  <a:lnTo>
                    <a:pt x="210" y="72"/>
                  </a:lnTo>
                  <a:lnTo>
                    <a:pt x="196" y="83"/>
                  </a:lnTo>
                  <a:lnTo>
                    <a:pt x="167" y="109"/>
                  </a:lnTo>
                  <a:lnTo>
                    <a:pt x="139" y="137"/>
                  </a:lnTo>
                  <a:lnTo>
                    <a:pt x="112" y="165"/>
                  </a:lnTo>
                  <a:lnTo>
                    <a:pt x="88" y="194"/>
                  </a:lnTo>
                  <a:lnTo>
                    <a:pt x="66" y="222"/>
                  </a:lnTo>
                  <a:lnTo>
                    <a:pt x="45" y="251"/>
                  </a:lnTo>
                  <a:lnTo>
                    <a:pt x="37" y="264"/>
                  </a:lnTo>
                  <a:lnTo>
                    <a:pt x="29" y="278"/>
                  </a:lnTo>
                  <a:lnTo>
                    <a:pt x="22" y="291"/>
                  </a:lnTo>
                  <a:lnTo>
                    <a:pt x="16" y="303"/>
                  </a:lnTo>
                  <a:lnTo>
                    <a:pt x="10" y="315"/>
                  </a:lnTo>
                  <a:lnTo>
                    <a:pt x="6" y="326"/>
                  </a:lnTo>
                  <a:lnTo>
                    <a:pt x="3" y="337"/>
                  </a:lnTo>
                  <a:lnTo>
                    <a:pt x="1" y="346"/>
                  </a:lnTo>
                  <a:lnTo>
                    <a:pt x="0" y="356"/>
                  </a:lnTo>
                  <a:lnTo>
                    <a:pt x="0" y="365"/>
                  </a:lnTo>
                  <a:lnTo>
                    <a:pt x="1" y="374"/>
                  </a:lnTo>
                  <a:lnTo>
                    <a:pt x="4" y="385"/>
                  </a:lnTo>
                  <a:lnTo>
                    <a:pt x="7" y="394"/>
                  </a:lnTo>
                  <a:lnTo>
                    <a:pt x="13" y="403"/>
                  </a:lnTo>
                  <a:lnTo>
                    <a:pt x="19" y="412"/>
                  </a:lnTo>
                  <a:lnTo>
                    <a:pt x="26" y="420"/>
                  </a:lnTo>
                  <a:lnTo>
                    <a:pt x="33" y="429"/>
                  </a:lnTo>
                  <a:lnTo>
                    <a:pt x="42" y="437"/>
                  </a:lnTo>
                  <a:lnTo>
                    <a:pt x="51" y="445"/>
                  </a:lnTo>
                  <a:lnTo>
                    <a:pt x="61" y="452"/>
                  </a:lnTo>
                  <a:lnTo>
                    <a:pt x="72" y="459"/>
                  </a:lnTo>
                  <a:lnTo>
                    <a:pt x="83" y="465"/>
                  </a:lnTo>
                  <a:lnTo>
                    <a:pt x="94" y="471"/>
                  </a:lnTo>
                  <a:lnTo>
                    <a:pt x="106" y="476"/>
                  </a:lnTo>
                  <a:lnTo>
                    <a:pt x="119" y="482"/>
                  </a:lnTo>
                  <a:lnTo>
                    <a:pt x="131" y="486"/>
                  </a:lnTo>
                  <a:lnTo>
                    <a:pt x="144" y="490"/>
                  </a:lnTo>
                  <a:lnTo>
                    <a:pt x="156" y="492"/>
                  </a:lnTo>
                  <a:lnTo>
                    <a:pt x="169" y="494"/>
                  </a:lnTo>
                  <a:lnTo>
                    <a:pt x="181" y="496"/>
                  </a:lnTo>
                  <a:lnTo>
                    <a:pt x="193" y="496"/>
                  </a:lnTo>
                  <a:lnTo>
                    <a:pt x="204" y="496"/>
                  </a:lnTo>
                  <a:lnTo>
                    <a:pt x="262" y="437"/>
                  </a:lnTo>
                  <a:lnTo>
                    <a:pt x="222" y="37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19" name="Freeform 46"/>
            <p:cNvSpPr>
              <a:spLocks/>
            </p:cNvSpPr>
            <p:nvPr userDrawn="1"/>
          </p:nvSpPr>
          <p:spPr bwMode="auto">
            <a:xfrm>
              <a:off x="7208" y="606"/>
              <a:ext cx="34" cy="28"/>
            </a:xfrm>
            <a:custGeom>
              <a:avLst/>
              <a:gdLst>
                <a:gd name="T0" fmla="*/ 217 w 410"/>
                <a:gd name="T1" fmla="*/ 96 h 335"/>
                <a:gd name="T2" fmla="*/ 233 w 410"/>
                <a:gd name="T3" fmla="*/ 100 h 335"/>
                <a:gd name="T4" fmla="*/ 248 w 410"/>
                <a:gd name="T5" fmla="*/ 107 h 335"/>
                <a:gd name="T6" fmla="*/ 258 w 410"/>
                <a:gd name="T7" fmla="*/ 117 h 335"/>
                <a:gd name="T8" fmla="*/ 264 w 410"/>
                <a:gd name="T9" fmla="*/ 129 h 335"/>
                <a:gd name="T10" fmla="*/ 265 w 410"/>
                <a:gd name="T11" fmla="*/ 141 h 335"/>
                <a:gd name="T12" fmla="*/ 263 w 410"/>
                <a:gd name="T13" fmla="*/ 155 h 335"/>
                <a:gd name="T14" fmla="*/ 256 w 410"/>
                <a:gd name="T15" fmla="*/ 169 h 335"/>
                <a:gd name="T16" fmla="*/ 245 w 410"/>
                <a:gd name="T17" fmla="*/ 183 h 335"/>
                <a:gd name="T18" fmla="*/ 227 w 410"/>
                <a:gd name="T19" fmla="*/ 199 h 335"/>
                <a:gd name="T20" fmla="*/ 208 w 410"/>
                <a:gd name="T21" fmla="*/ 211 h 335"/>
                <a:gd name="T22" fmla="*/ 185 w 410"/>
                <a:gd name="T23" fmla="*/ 221 h 335"/>
                <a:gd name="T24" fmla="*/ 151 w 410"/>
                <a:gd name="T25" fmla="*/ 233 h 335"/>
                <a:gd name="T26" fmla="*/ 107 w 410"/>
                <a:gd name="T27" fmla="*/ 245 h 335"/>
                <a:gd name="T28" fmla="*/ 81 w 410"/>
                <a:gd name="T29" fmla="*/ 249 h 335"/>
                <a:gd name="T30" fmla="*/ 112 w 410"/>
                <a:gd name="T31" fmla="*/ 335 h 335"/>
                <a:gd name="T32" fmla="*/ 144 w 410"/>
                <a:gd name="T33" fmla="*/ 331 h 335"/>
                <a:gd name="T34" fmla="*/ 189 w 410"/>
                <a:gd name="T35" fmla="*/ 321 h 335"/>
                <a:gd name="T36" fmla="*/ 232 w 410"/>
                <a:gd name="T37" fmla="*/ 308 h 335"/>
                <a:gd name="T38" fmla="*/ 275 w 410"/>
                <a:gd name="T39" fmla="*/ 292 h 335"/>
                <a:gd name="T40" fmla="*/ 315 w 410"/>
                <a:gd name="T41" fmla="*/ 273 h 335"/>
                <a:gd name="T42" fmla="*/ 349 w 410"/>
                <a:gd name="T43" fmla="*/ 253 h 335"/>
                <a:gd name="T44" fmla="*/ 376 w 410"/>
                <a:gd name="T45" fmla="*/ 232 h 335"/>
                <a:gd name="T46" fmla="*/ 395 w 410"/>
                <a:gd name="T47" fmla="*/ 212 h 335"/>
                <a:gd name="T48" fmla="*/ 404 w 410"/>
                <a:gd name="T49" fmla="*/ 194 h 335"/>
                <a:gd name="T50" fmla="*/ 408 w 410"/>
                <a:gd name="T51" fmla="*/ 177 h 335"/>
                <a:gd name="T52" fmla="*/ 410 w 410"/>
                <a:gd name="T53" fmla="*/ 162 h 335"/>
                <a:gd name="T54" fmla="*/ 409 w 410"/>
                <a:gd name="T55" fmla="*/ 147 h 335"/>
                <a:gd name="T56" fmla="*/ 405 w 410"/>
                <a:gd name="T57" fmla="*/ 126 h 335"/>
                <a:gd name="T58" fmla="*/ 395 w 410"/>
                <a:gd name="T59" fmla="*/ 103 h 335"/>
                <a:gd name="T60" fmla="*/ 381 w 410"/>
                <a:gd name="T61" fmla="*/ 83 h 335"/>
                <a:gd name="T62" fmla="*/ 365 w 410"/>
                <a:gd name="T63" fmla="*/ 64 h 335"/>
                <a:gd name="T64" fmla="*/ 346 w 410"/>
                <a:gd name="T65" fmla="*/ 48 h 335"/>
                <a:gd name="T66" fmla="*/ 323 w 410"/>
                <a:gd name="T67" fmla="*/ 32 h 335"/>
                <a:gd name="T68" fmla="*/ 301 w 410"/>
                <a:gd name="T69" fmla="*/ 20 h 335"/>
                <a:gd name="T70" fmla="*/ 276 w 410"/>
                <a:gd name="T71" fmla="*/ 11 h 335"/>
                <a:gd name="T72" fmla="*/ 251 w 410"/>
                <a:gd name="T73" fmla="*/ 4 h 335"/>
                <a:gd name="T74" fmla="*/ 225 w 410"/>
                <a:gd name="T75" fmla="*/ 1 h 335"/>
                <a:gd name="T76" fmla="*/ 162 w 410"/>
                <a:gd name="T77" fmla="*/ 56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10" h="335">
                  <a:moveTo>
                    <a:pt x="209" y="96"/>
                  </a:moveTo>
                  <a:lnTo>
                    <a:pt x="217" y="96"/>
                  </a:lnTo>
                  <a:lnTo>
                    <a:pt x="226" y="98"/>
                  </a:lnTo>
                  <a:lnTo>
                    <a:pt x="233" y="100"/>
                  </a:lnTo>
                  <a:lnTo>
                    <a:pt x="241" y="103"/>
                  </a:lnTo>
                  <a:lnTo>
                    <a:pt x="248" y="107"/>
                  </a:lnTo>
                  <a:lnTo>
                    <a:pt x="253" y="111"/>
                  </a:lnTo>
                  <a:lnTo>
                    <a:pt x="258" y="117"/>
                  </a:lnTo>
                  <a:lnTo>
                    <a:pt x="261" y="123"/>
                  </a:lnTo>
                  <a:lnTo>
                    <a:pt x="264" y="129"/>
                  </a:lnTo>
                  <a:lnTo>
                    <a:pt x="265" y="135"/>
                  </a:lnTo>
                  <a:lnTo>
                    <a:pt x="265" y="141"/>
                  </a:lnTo>
                  <a:lnTo>
                    <a:pt x="264" y="148"/>
                  </a:lnTo>
                  <a:lnTo>
                    <a:pt x="263" y="155"/>
                  </a:lnTo>
                  <a:lnTo>
                    <a:pt x="260" y="162"/>
                  </a:lnTo>
                  <a:lnTo>
                    <a:pt x="256" y="169"/>
                  </a:lnTo>
                  <a:lnTo>
                    <a:pt x="252" y="175"/>
                  </a:lnTo>
                  <a:lnTo>
                    <a:pt x="245" y="183"/>
                  </a:lnTo>
                  <a:lnTo>
                    <a:pt x="236" y="192"/>
                  </a:lnTo>
                  <a:lnTo>
                    <a:pt x="227" y="199"/>
                  </a:lnTo>
                  <a:lnTo>
                    <a:pt x="218" y="205"/>
                  </a:lnTo>
                  <a:lnTo>
                    <a:pt x="208" y="211"/>
                  </a:lnTo>
                  <a:lnTo>
                    <a:pt x="197" y="216"/>
                  </a:lnTo>
                  <a:lnTo>
                    <a:pt x="185" y="221"/>
                  </a:lnTo>
                  <a:lnTo>
                    <a:pt x="174" y="226"/>
                  </a:lnTo>
                  <a:lnTo>
                    <a:pt x="151" y="233"/>
                  </a:lnTo>
                  <a:lnTo>
                    <a:pt x="128" y="239"/>
                  </a:lnTo>
                  <a:lnTo>
                    <a:pt x="107" y="245"/>
                  </a:lnTo>
                  <a:lnTo>
                    <a:pt x="88" y="248"/>
                  </a:lnTo>
                  <a:lnTo>
                    <a:pt x="81" y="249"/>
                  </a:lnTo>
                  <a:lnTo>
                    <a:pt x="0" y="328"/>
                  </a:lnTo>
                  <a:lnTo>
                    <a:pt x="112" y="335"/>
                  </a:lnTo>
                  <a:lnTo>
                    <a:pt x="121" y="334"/>
                  </a:lnTo>
                  <a:lnTo>
                    <a:pt x="144" y="331"/>
                  </a:lnTo>
                  <a:lnTo>
                    <a:pt x="165" y="326"/>
                  </a:lnTo>
                  <a:lnTo>
                    <a:pt x="189" y="321"/>
                  </a:lnTo>
                  <a:lnTo>
                    <a:pt x="211" y="315"/>
                  </a:lnTo>
                  <a:lnTo>
                    <a:pt x="232" y="308"/>
                  </a:lnTo>
                  <a:lnTo>
                    <a:pt x="255" y="300"/>
                  </a:lnTo>
                  <a:lnTo>
                    <a:pt x="275" y="292"/>
                  </a:lnTo>
                  <a:lnTo>
                    <a:pt x="296" y="282"/>
                  </a:lnTo>
                  <a:lnTo>
                    <a:pt x="315" y="273"/>
                  </a:lnTo>
                  <a:lnTo>
                    <a:pt x="332" y="263"/>
                  </a:lnTo>
                  <a:lnTo>
                    <a:pt x="349" y="253"/>
                  </a:lnTo>
                  <a:lnTo>
                    <a:pt x="363" y="243"/>
                  </a:lnTo>
                  <a:lnTo>
                    <a:pt x="376" y="232"/>
                  </a:lnTo>
                  <a:lnTo>
                    <a:pt x="386" y="222"/>
                  </a:lnTo>
                  <a:lnTo>
                    <a:pt x="395" y="212"/>
                  </a:lnTo>
                  <a:lnTo>
                    <a:pt x="400" y="203"/>
                  </a:lnTo>
                  <a:lnTo>
                    <a:pt x="404" y="194"/>
                  </a:lnTo>
                  <a:lnTo>
                    <a:pt x="406" y="185"/>
                  </a:lnTo>
                  <a:lnTo>
                    <a:pt x="408" y="177"/>
                  </a:lnTo>
                  <a:lnTo>
                    <a:pt x="409" y="169"/>
                  </a:lnTo>
                  <a:lnTo>
                    <a:pt x="410" y="162"/>
                  </a:lnTo>
                  <a:lnTo>
                    <a:pt x="409" y="154"/>
                  </a:lnTo>
                  <a:lnTo>
                    <a:pt x="409" y="147"/>
                  </a:lnTo>
                  <a:lnTo>
                    <a:pt x="408" y="139"/>
                  </a:lnTo>
                  <a:lnTo>
                    <a:pt x="405" y="126"/>
                  </a:lnTo>
                  <a:lnTo>
                    <a:pt x="400" y="114"/>
                  </a:lnTo>
                  <a:lnTo>
                    <a:pt x="395" y="103"/>
                  </a:lnTo>
                  <a:lnTo>
                    <a:pt x="388" y="93"/>
                  </a:lnTo>
                  <a:lnTo>
                    <a:pt x="381" y="83"/>
                  </a:lnTo>
                  <a:lnTo>
                    <a:pt x="373" y="73"/>
                  </a:lnTo>
                  <a:lnTo>
                    <a:pt x="365" y="64"/>
                  </a:lnTo>
                  <a:lnTo>
                    <a:pt x="355" y="56"/>
                  </a:lnTo>
                  <a:lnTo>
                    <a:pt x="346" y="48"/>
                  </a:lnTo>
                  <a:lnTo>
                    <a:pt x="334" y="39"/>
                  </a:lnTo>
                  <a:lnTo>
                    <a:pt x="323" y="32"/>
                  </a:lnTo>
                  <a:lnTo>
                    <a:pt x="312" y="26"/>
                  </a:lnTo>
                  <a:lnTo>
                    <a:pt x="301" y="20"/>
                  </a:lnTo>
                  <a:lnTo>
                    <a:pt x="288" y="15"/>
                  </a:lnTo>
                  <a:lnTo>
                    <a:pt x="276" y="11"/>
                  </a:lnTo>
                  <a:lnTo>
                    <a:pt x="263" y="7"/>
                  </a:lnTo>
                  <a:lnTo>
                    <a:pt x="251" y="4"/>
                  </a:lnTo>
                  <a:lnTo>
                    <a:pt x="239" y="2"/>
                  </a:lnTo>
                  <a:lnTo>
                    <a:pt x="225" y="1"/>
                  </a:lnTo>
                  <a:lnTo>
                    <a:pt x="213" y="0"/>
                  </a:lnTo>
                  <a:lnTo>
                    <a:pt x="162" y="56"/>
                  </a:lnTo>
                  <a:lnTo>
                    <a:pt x="209" y="9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0" name="Freeform 47"/>
            <p:cNvSpPr>
              <a:spLocks/>
            </p:cNvSpPr>
            <p:nvPr userDrawn="1"/>
          </p:nvSpPr>
          <p:spPr bwMode="auto">
            <a:xfrm>
              <a:off x="7156" y="565"/>
              <a:ext cx="109" cy="121"/>
            </a:xfrm>
            <a:custGeom>
              <a:avLst/>
              <a:gdLst>
                <a:gd name="T0" fmla="*/ 802 w 1307"/>
                <a:gd name="T1" fmla="*/ 593 h 1456"/>
                <a:gd name="T2" fmla="*/ 746 w 1307"/>
                <a:gd name="T3" fmla="*/ 629 h 1456"/>
                <a:gd name="T4" fmla="*/ 713 w 1307"/>
                <a:gd name="T5" fmla="*/ 692 h 1456"/>
                <a:gd name="T6" fmla="*/ 748 w 1307"/>
                <a:gd name="T7" fmla="*/ 832 h 1456"/>
                <a:gd name="T8" fmla="*/ 838 w 1307"/>
                <a:gd name="T9" fmla="*/ 916 h 1456"/>
                <a:gd name="T10" fmla="*/ 970 w 1307"/>
                <a:gd name="T11" fmla="*/ 963 h 1456"/>
                <a:gd name="T12" fmla="*/ 1127 w 1307"/>
                <a:gd name="T13" fmla="*/ 971 h 1456"/>
                <a:gd name="T14" fmla="*/ 1282 w 1307"/>
                <a:gd name="T15" fmla="*/ 944 h 1456"/>
                <a:gd name="T16" fmla="*/ 1306 w 1307"/>
                <a:gd name="T17" fmla="*/ 948 h 1456"/>
                <a:gd name="T18" fmla="*/ 1299 w 1307"/>
                <a:gd name="T19" fmla="*/ 972 h 1456"/>
                <a:gd name="T20" fmla="*/ 1255 w 1307"/>
                <a:gd name="T21" fmla="*/ 1007 h 1456"/>
                <a:gd name="T22" fmla="*/ 1166 w 1307"/>
                <a:gd name="T23" fmla="*/ 1042 h 1456"/>
                <a:gd name="T24" fmla="*/ 1051 w 1307"/>
                <a:gd name="T25" fmla="*/ 1057 h 1456"/>
                <a:gd name="T26" fmla="*/ 851 w 1307"/>
                <a:gd name="T27" fmla="*/ 1032 h 1456"/>
                <a:gd name="T28" fmla="*/ 687 w 1307"/>
                <a:gd name="T29" fmla="*/ 959 h 1456"/>
                <a:gd name="T30" fmla="*/ 585 w 1307"/>
                <a:gd name="T31" fmla="*/ 864 h 1456"/>
                <a:gd name="T32" fmla="*/ 547 w 1307"/>
                <a:gd name="T33" fmla="*/ 796 h 1456"/>
                <a:gd name="T34" fmla="*/ 533 w 1307"/>
                <a:gd name="T35" fmla="*/ 728 h 1456"/>
                <a:gd name="T36" fmla="*/ 471 w 1307"/>
                <a:gd name="T37" fmla="*/ 717 h 1456"/>
                <a:gd name="T38" fmla="*/ 295 w 1307"/>
                <a:gd name="T39" fmla="*/ 760 h 1456"/>
                <a:gd name="T40" fmla="*/ 263 w 1307"/>
                <a:gd name="T41" fmla="*/ 950 h 1456"/>
                <a:gd name="T42" fmla="*/ 242 w 1307"/>
                <a:gd name="T43" fmla="*/ 1207 h 1456"/>
                <a:gd name="T44" fmla="*/ 249 w 1307"/>
                <a:gd name="T45" fmla="*/ 1425 h 1456"/>
                <a:gd name="T46" fmla="*/ 235 w 1307"/>
                <a:gd name="T47" fmla="*/ 1455 h 1456"/>
                <a:gd name="T48" fmla="*/ 183 w 1307"/>
                <a:gd name="T49" fmla="*/ 1441 h 1456"/>
                <a:gd name="T50" fmla="*/ 132 w 1307"/>
                <a:gd name="T51" fmla="*/ 1388 h 1456"/>
                <a:gd name="T52" fmla="*/ 101 w 1307"/>
                <a:gd name="T53" fmla="*/ 1291 h 1456"/>
                <a:gd name="T54" fmla="*/ 98 w 1307"/>
                <a:gd name="T55" fmla="*/ 1045 h 1456"/>
                <a:gd name="T56" fmla="*/ 123 w 1307"/>
                <a:gd name="T57" fmla="*/ 785 h 1456"/>
                <a:gd name="T58" fmla="*/ 59 w 1307"/>
                <a:gd name="T59" fmla="*/ 774 h 1456"/>
                <a:gd name="T60" fmla="*/ 29 w 1307"/>
                <a:gd name="T61" fmla="*/ 747 h 1456"/>
                <a:gd name="T62" fmla="*/ 0 w 1307"/>
                <a:gd name="T63" fmla="*/ 679 h 1456"/>
                <a:gd name="T64" fmla="*/ 21 w 1307"/>
                <a:gd name="T65" fmla="*/ 654 h 1456"/>
                <a:gd name="T66" fmla="*/ 95 w 1307"/>
                <a:gd name="T67" fmla="*/ 659 h 1456"/>
                <a:gd name="T68" fmla="*/ 174 w 1307"/>
                <a:gd name="T69" fmla="*/ 563 h 1456"/>
                <a:gd name="T70" fmla="*/ 246 w 1307"/>
                <a:gd name="T71" fmla="*/ 312 h 1456"/>
                <a:gd name="T72" fmla="*/ 332 w 1307"/>
                <a:gd name="T73" fmla="*/ 113 h 1456"/>
                <a:gd name="T74" fmla="*/ 407 w 1307"/>
                <a:gd name="T75" fmla="*/ 15 h 1456"/>
                <a:gd name="T76" fmla="*/ 488 w 1307"/>
                <a:gd name="T77" fmla="*/ 3 h 1456"/>
                <a:gd name="T78" fmla="*/ 569 w 1307"/>
                <a:gd name="T79" fmla="*/ 39 h 1456"/>
                <a:gd name="T80" fmla="*/ 619 w 1307"/>
                <a:gd name="T81" fmla="*/ 95 h 1456"/>
                <a:gd name="T82" fmla="*/ 634 w 1307"/>
                <a:gd name="T83" fmla="*/ 156 h 1456"/>
                <a:gd name="T84" fmla="*/ 621 w 1307"/>
                <a:gd name="T85" fmla="*/ 200 h 1456"/>
                <a:gd name="T86" fmla="*/ 598 w 1307"/>
                <a:gd name="T87" fmla="*/ 214 h 1456"/>
                <a:gd name="T88" fmla="*/ 578 w 1307"/>
                <a:gd name="T89" fmla="*/ 195 h 1456"/>
                <a:gd name="T90" fmla="*/ 535 w 1307"/>
                <a:gd name="T91" fmla="*/ 146 h 1456"/>
                <a:gd name="T92" fmla="*/ 494 w 1307"/>
                <a:gd name="T93" fmla="*/ 149 h 1456"/>
                <a:gd name="T94" fmla="*/ 451 w 1307"/>
                <a:gd name="T95" fmla="*/ 206 h 1456"/>
                <a:gd name="T96" fmla="*/ 345 w 1307"/>
                <a:gd name="T97" fmla="*/ 519 h 1456"/>
                <a:gd name="T98" fmla="*/ 388 w 1307"/>
                <a:gd name="T99" fmla="*/ 638 h 1456"/>
                <a:gd name="T100" fmla="*/ 594 w 1307"/>
                <a:gd name="T101" fmla="*/ 595 h 1456"/>
                <a:gd name="T102" fmla="*/ 650 w 1307"/>
                <a:gd name="T103" fmla="*/ 551 h 1456"/>
                <a:gd name="T104" fmla="*/ 746 w 1307"/>
                <a:gd name="T105" fmla="*/ 506 h 1456"/>
                <a:gd name="T106" fmla="*/ 844 w 1307"/>
                <a:gd name="T107" fmla="*/ 489 h 14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07" h="1456">
                  <a:moveTo>
                    <a:pt x="840" y="585"/>
                  </a:moveTo>
                  <a:lnTo>
                    <a:pt x="833" y="585"/>
                  </a:lnTo>
                  <a:lnTo>
                    <a:pt x="826" y="586"/>
                  </a:lnTo>
                  <a:lnTo>
                    <a:pt x="820" y="587"/>
                  </a:lnTo>
                  <a:lnTo>
                    <a:pt x="812" y="589"/>
                  </a:lnTo>
                  <a:lnTo>
                    <a:pt x="802" y="593"/>
                  </a:lnTo>
                  <a:lnTo>
                    <a:pt x="792" y="597"/>
                  </a:lnTo>
                  <a:lnTo>
                    <a:pt x="783" y="602"/>
                  </a:lnTo>
                  <a:lnTo>
                    <a:pt x="773" y="608"/>
                  </a:lnTo>
                  <a:lnTo>
                    <a:pt x="763" y="615"/>
                  </a:lnTo>
                  <a:lnTo>
                    <a:pt x="755" y="622"/>
                  </a:lnTo>
                  <a:lnTo>
                    <a:pt x="746" y="629"/>
                  </a:lnTo>
                  <a:lnTo>
                    <a:pt x="739" y="639"/>
                  </a:lnTo>
                  <a:lnTo>
                    <a:pt x="732" y="648"/>
                  </a:lnTo>
                  <a:lnTo>
                    <a:pt x="726" y="658"/>
                  </a:lnTo>
                  <a:lnTo>
                    <a:pt x="721" y="668"/>
                  </a:lnTo>
                  <a:lnTo>
                    <a:pt x="717" y="679"/>
                  </a:lnTo>
                  <a:lnTo>
                    <a:pt x="713" y="692"/>
                  </a:lnTo>
                  <a:lnTo>
                    <a:pt x="711" y="704"/>
                  </a:lnTo>
                  <a:lnTo>
                    <a:pt x="711" y="717"/>
                  </a:lnTo>
                  <a:lnTo>
                    <a:pt x="711" y="732"/>
                  </a:lnTo>
                  <a:lnTo>
                    <a:pt x="712" y="738"/>
                  </a:lnTo>
                  <a:lnTo>
                    <a:pt x="743" y="824"/>
                  </a:lnTo>
                  <a:lnTo>
                    <a:pt x="748" y="832"/>
                  </a:lnTo>
                  <a:lnTo>
                    <a:pt x="759" y="848"/>
                  </a:lnTo>
                  <a:lnTo>
                    <a:pt x="773" y="863"/>
                  </a:lnTo>
                  <a:lnTo>
                    <a:pt x="787" y="879"/>
                  </a:lnTo>
                  <a:lnTo>
                    <a:pt x="803" y="892"/>
                  </a:lnTo>
                  <a:lnTo>
                    <a:pt x="820" y="904"/>
                  </a:lnTo>
                  <a:lnTo>
                    <a:pt x="838" y="916"/>
                  </a:lnTo>
                  <a:lnTo>
                    <a:pt x="857" y="926"/>
                  </a:lnTo>
                  <a:lnTo>
                    <a:pt x="878" y="936"/>
                  </a:lnTo>
                  <a:lnTo>
                    <a:pt x="899" y="945"/>
                  </a:lnTo>
                  <a:lnTo>
                    <a:pt x="922" y="952"/>
                  </a:lnTo>
                  <a:lnTo>
                    <a:pt x="946" y="958"/>
                  </a:lnTo>
                  <a:lnTo>
                    <a:pt x="970" y="963"/>
                  </a:lnTo>
                  <a:lnTo>
                    <a:pt x="996" y="967"/>
                  </a:lnTo>
                  <a:lnTo>
                    <a:pt x="1021" y="970"/>
                  </a:lnTo>
                  <a:lnTo>
                    <a:pt x="1049" y="972"/>
                  </a:lnTo>
                  <a:lnTo>
                    <a:pt x="1077" y="973"/>
                  </a:lnTo>
                  <a:lnTo>
                    <a:pt x="1102" y="972"/>
                  </a:lnTo>
                  <a:lnTo>
                    <a:pt x="1127" y="971"/>
                  </a:lnTo>
                  <a:lnTo>
                    <a:pt x="1152" y="968"/>
                  </a:lnTo>
                  <a:lnTo>
                    <a:pt x="1178" y="965"/>
                  </a:lnTo>
                  <a:lnTo>
                    <a:pt x="1204" y="961"/>
                  </a:lnTo>
                  <a:lnTo>
                    <a:pt x="1230" y="956"/>
                  </a:lnTo>
                  <a:lnTo>
                    <a:pt x="1255" y="950"/>
                  </a:lnTo>
                  <a:lnTo>
                    <a:pt x="1282" y="944"/>
                  </a:lnTo>
                  <a:lnTo>
                    <a:pt x="1291" y="942"/>
                  </a:lnTo>
                  <a:lnTo>
                    <a:pt x="1298" y="942"/>
                  </a:lnTo>
                  <a:lnTo>
                    <a:pt x="1301" y="943"/>
                  </a:lnTo>
                  <a:lnTo>
                    <a:pt x="1303" y="944"/>
                  </a:lnTo>
                  <a:lnTo>
                    <a:pt x="1305" y="945"/>
                  </a:lnTo>
                  <a:lnTo>
                    <a:pt x="1306" y="948"/>
                  </a:lnTo>
                  <a:lnTo>
                    <a:pt x="1307" y="951"/>
                  </a:lnTo>
                  <a:lnTo>
                    <a:pt x="1307" y="954"/>
                  </a:lnTo>
                  <a:lnTo>
                    <a:pt x="1306" y="958"/>
                  </a:lnTo>
                  <a:lnTo>
                    <a:pt x="1305" y="963"/>
                  </a:lnTo>
                  <a:lnTo>
                    <a:pt x="1302" y="967"/>
                  </a:lnTo>
                  <a:lnTo>
                    <a:pt x="1299" y="972"/>
                  </a:lnTo>
                  <a:lnTo>
                    <a:pt x="1295" y="978"/>
                  </a:lnTo>
                  <a:lnTo>
                    <a:pt x="1291" y="983"/>
                  </a:lnTo>
                  <a:lnTo>
                    <a:pt x="1284" y="989"/>
                  </a:lnTo>
                  <a:lnTo>
                    <a:pt x="1275" y="995"/>
                  </a:lnTo>
                  <a:lnTo>
                    <a:pt x="1265" y="1001"/>
                  </a:lnTo>
                  <a:lnTo>
                    <a:pt x="1255" y="1007"/>
                  </a:lnTo>
                  <a:lnTo>
                    <a:pt x="1243" y="1013"/>
                  </a:lnTo>
                  <a:lnTo>
                    <a:pt x="1230" y="1019"/>
                  </a:lnTo>
                  <a:lnTo>
                    <a:pt x="1215" y="1025"/>
                  </a:lnTo>
                  <a:lnTo>
                    <a:pt x="1200" y="1032"/>
                  </a:lnTo>
                  <a:lnTo>
                    <a:pt x="1184" y="1037"/>
                  </a:lnTo>
                  <a:lnTo>
                    <a:pt x="1166" y="1042"/>
                  </a:lnTo>
                  <a:lnTo>
                    <a:pt x="1149" y="1046"/>
                  </a:lnTo>
                  <a:lnTo>
                    <a:pt x="1131" y="1050"/>
                  </a:lnTo>
                  <a:lnTo>
                    <a:pt x="1111" y="1053"/>
                  </a:lnTo>
                  <a:lnTo>
                    <a:pt x="1092" y="1055"/>
                  </a:lnTo>
                  <a:lnTo>
                    <a:pt x="1071" y="1056"/>
                  </a:lnTo>
                  <a:lnTo>
                    <a:pt x="1051" y="1057"/>
                  </a:lnTo>
                  <a:lnTo>
                    <a:pt x="1015" y="1056"/>
                  </a:lnTo>
                  <a:lnTo>
                    <a:pt x="981" y="1054"/>
                  </a:lnTo>
                  <a:lnTo>
                    <a:pt x="947" y="1050"/>
                  </a:lnTo>
                  <a:lnTo>
                    <a:pt x="914" y="1046"/>
                  </a:lnTo>
                  <a:lnTo>
                    <a:pt x="882" y="1039"/>
                  </a:lnTo>
                  <a:lnTo>
                    <a:pt x="851" y="1032"/>
                  </a:lnTo>
                  <a:lnTo>
                    <a:pt x="821" y="1022"/>
                  </a:lnTo>
                  <a:lnTo>
                    <a:pt x="792" y="1012"/>
                  </a:lnTo>
                  <a:lnTo>
                    <a:pt x="763" y="1001"/>
                  </a:lnTo>
                  <a:lnTo>
                    <a:pt x="737" y="988"/>
                  </a:lnTo>
                  <a:lnTo>
                    <a:pt x="710" y="974"/>
                  </a:lnTo>
                  <a:lnTo>
                    <a:pt x="687" y="959"/>
                  </a:lnTo>
                  <a:lnTo>
                    <a:pt x="663" y="943"/>
                  </a:lnTo>
                  <a:lnTo>
                    <a:pt x="642" y="925"/>
                  </a:lnTo>
                  <a:lnTo>
                    <a:pt x="622" y="906"/>
                  </a:lnTo>
                  <a:lnTo>
                    <a:pt x="603" y="887"/>
                  </a:lnTo>
                  <a:lnTo>
                    <a:pt x="594" y="875"/>
                  </a:lnTo>
                  <a:lnTo>
                    <a:pt x="585" y="864"/>
                  </a:lnTo>
                  <a:lnTo>
                    <a:pt x="577" y="853"/>
                  </a:lnTo>
                  <a:lnTo>
                    <a:pt x="570" y="842"/>
                  </a:lnTo>
                  <a:lnTo>
                    <a:pt x="562" y="831"/>
                  </a:lnTo>
                  <a:lnTo>
                    <a:pt x="557" y="819"/>
                  </a:lnTo>
                  <a:lnTo>
                    <a:pt x="551" y="808"/>
                  </a:lnTo>
                  <a:lnTo>
                    <a:pt x="547" y="796"/>
                  </a:lnTo>
                  <a:lnTo>
                    <a:pt x="543" y="785"/>
                  </a:lnTo>
                  <a:lnTo>
                    <a:pt x="539" y="773"/>
                  </a:lnTo>
                  <a:lnTo>
                    <a:pt x="537" y="762"/>
                  </a:lnTo>
                  <a:lnTo>
                    <a:pt x="535" y="751"/>
                  </a:lnTo>
                  <a:lnTo>
                    <a:pt x="534" y="740"/>
                  </a:lnTo>
                  <a:lnTo>
                    <a:pt x="533" y="728"/>
                  </a:lnTo>
                  <a:lnTo>
                    <a:pt x="533" y="718"/>
                  </a:lnTo>
                  <a:lnTo>
                    <a:pt x="534" y="707"/>
                  </a:lnTo>
                  <a:lnTo>
                    <a:pt x="535" y="699"/>
                  </a:lnTo>
                  <a:lnTo>
                    <a:pt x="527" y="701"/>
                  </a:lnTo>
                  <a:lnTo>
                    <a:pt x="499" y="709"/>
                  </a:lnTo>
                  <a:lnTo>
                    <a:pt x="471" y="717"/>
                  </a:lnTo>
                  <a:lnTo>
                    <a:pt x="442" y="725"/>
                  </a:lnTo>
                  <a:lnTo>
                    <a:pt x="413" y="733"/>
                  </a:lnTo>
                  <a:lnTo>
                    <a:pt x="383" y="740"/>
                  </a:lnTo>
                  <a:lnTo>
                    <a:pt x="353" y="747"/>
                  </a:lnTo>
                  <a:lnTo>
                    <a:pt x="325" y="754"/>
                  </a:lnTo>
                  <a:lnTo>
                    <a:pt x="295" y="760"/>
                  </a:lnTo>
                  <a:lnTo>
                    <a:pt x="292" y="761"/>
                  </a:lnTo>
                  <a:lnTo>
                    <a:pt x="291" y="764"/>
                  </a:lnTo>
                  <a:lnTo>
                    <a:pt x="283" y="811"/>
                  </a:lnTo>
                  <a:lnTo>
                    <a:pt x="275" y="858"/>
                  </a:lnTo>
                  <a:lnTo>
                    <a:pt x="269" y="904"/>
                  </a:lnTo>
                  <a:lnTo>
                    <a:pt x="263" y="950"/>
                  </a:lnTo>
                  <a:lnTo>
                    <a:pt x="258" y="995"/>
                  </a:lnTo>
                  <a:lnTo>
                    <a:pt x="252" y="1039"/>
                  </a:lnTo>
                  <a:lnTo>
                    <a:pt x="248" y="1083"/>
                  </a:lnTo>
                  <a:lnTo>
                    <a:pt x="245" y="1126"/>
                  </a:lnTo>
                  <a:lnTo>
                    <a:pt x="243" y="1167"/>
                  </a:lnTo>
                  <a:lnTo>
                    <a:pt x="242" y="1207"/>
                  </a:lnTo>
                  <a:lnTo>
                    <a:pt x="241" y="1247"/>
                  </a:lnTo>
                  <a:lnTo>
                    <a:pt x="241" y="1286"/>
                  </a:lnTo>
                  <a:lnTo>
                    <a:pt x="242" y="1323"/>
                  </a:lnTo>
                  <a:lnTo>
                    <a:pt x="243" y="1358"/>
                  </a:lnTo>
                  <a:lnTo>
                    <a:pt x="246" y="1392"/>
                  </a:lnTo>
                  <a:lnTo>
                    <a:pt x="249" y="1425"/>
                  </a:lnTo>
                  <a:lnTo>
                    <a:pt x="250" y="1433"/>
                  </a:lnTo>
                  <a:lnTo>
                    <a:pt x="249" y="1440"/>
                  </a:lnTo>
                  <a:lnTo>
                    <a:pt x="247" y="1446"/>
                  </a:lnTo>
                  <a:lnTo>
                    <a:pt x="245" y="1450"/>
                  </a:lnTo>
                  <a:lnTo>
                    <a:pt x="240" y="1454"/>
                  </a:lnTo>
                  <a:lnTo>
                    <a:pt x="235" y="1455"/>
                  </a:lnTo>
                  <a:lnTo>
                    <a:pt x="228" y="1456"/>
                  </a:lnTo>
                  <a:lnTo>
                    <a:pt x="221" y="1455"/>
                  </a:lnTo>
                  <a:lnTo>
                    <a:pt x="212" y="1453"/>
                  </a:lnTo>
                  <a:lnTo>
                    <a:pt x="202" y="1450"/>
                  </a:lnTo>
                  <a:lnTo>
                    <a:pt x="193" y="1446"/>
                  </a:lnTo>
                  <a:lnTo>
                    <a:pt x="183" y="1441"/>
                  </a:lnTo>
                  <a:lnTo>
                    <a:pt x="171" y="1434"/>
                  </a:lnTo>
                  <a:lnTo>
                    <a:pt x="158" y="1423"/>
                  </a:lnTo>
                  <a:lnTo>
                    <a:pt x="150" y="1415"/>
                  </a:lnTo>
                  <a:lnTo>
                    <a:pt x="144" y="1407"/>
                  </a:lnTo>
                  <a:lnTo>
                    <a:pt x="138" y="1398"/>
                  </a:lnTo>
                  <a:lnTo>
                    <a:pt x="132" y="1388"/>
                  </a:lnTo>
                  <a:lnTo>
                    <a:pt x="126" y="1376"/>
                  </a:lnTo>
                  <a:lnTo>
                    <a:pt x="120" y="1362"/>
                  </a:lnTo>
                  <a:lnTo>
                    <a:pt x="115" y="1347"/>
                  </a:lnTo>
                  <a:lnTo>
                    <a:pt x="110" y="1331"/>
                  </a:lnTo>
                  <a:lnTo>
                    <a:pt x="106" y="1311"/>
                  </a:lnTo>
                  <a:lnTo>
                    <a:pt x="101" y="1291"/>
                  </a:lnTo>
                  <a:lnTo>
                    <a:pt x="98" y="1268"/>
                  </a:lnTo>
                  <a:lnTo>
                    <a:pt x="96" y="1243"/>
                  </a:lnTo>
                  <a:lnTo>
                    <a:pt x="94" y="1201"/>
                  </a:lnTo>
                  <a:lnTo>
                    <a:pt x="94" y="1154"/>
                  </a:lnTo>
                  <a:lnTo>
                    <a:pt x="95" y="1101"/>
                  </a:lnTo>
                  <a:lnTo>
                    <a:pt x="98" y="1045"/>
                  </a:lnTo>
                  <a:lnTo>
                    <a:pt x="103" y="985"/>
                  </a:lnTo>
                  <a:lnTo>
                    <a:pt x="111" y="922"/>
                  </a:lnTo>
                  <a:lnTo>
                    <a:pt x="119" y="858"/>
                  </a:lnTo>
                  <a:lnTo>
                    <a:pt x="129" y="791"/>
                  </a:lnTo>
                  <a:lnTo>
                    <a:pt x="130" y="785"/>
                  </a:lnTo>
                  <a:lnTo>
                    <a:pt x="123" y="785"/>
                  </a:lnTo>
                  <a:lnTo>
                    <a:pt x="109" y="785"/>
                  </a:lnTo>
                  <a:lnTo>
                    <a:pt x="95" y="784"/>
                  </a:lnTo>
                  <a:lnTo>
                    <a:pt x="82" y="782"/>
                  </a:lnTo>
                  <a:lnTo>
                    <a:pt x="70" y="778"/>
                  </a:lnTo>
                  <a:lnTo>
                    <a:pt x="64" y="776"/>
                  </a:lnTo>
                  <a:lnTo>
                    <a:pt x="59" y="774"/>
                  </a:lnTo>
                  <a:lnTo>
                    <a:pt x="52" y="771"/>
                  </a:lnTo>
                  <a:lnTo>
                    <a:pt x="47" y="767"/>
                  </a:lnTo>
                  <a:lnTo>
                    <a:pt x="42" y="763"/>
                  </a:lnTo>
                  <a:lnTo>
                    <a:pt x="38" y="758"/>
                  </a:lnTo>
                  <a:lnTo>
                    <a:pt x="33" y="753"/>
                  </a:lnTo>
                  <a:lnTo>
                    <a:pt x="29" y="747"/>
                  </a:lnTo>
                  <a:lnTo>
                    <a:pt x="21" y="734"/>
                  </a:lnTo>
                  <a:lnTo>
                    <a:pt x="14" y="721"/>
                  </a:lnTo>
                  <a:lnTo>
                    <a:pt x="8" y="709"/>
                  </a:lnTo>
                  <a:lnTo>
                    <a:pt x="4" y="698"/>
                  </a:lnTo>
                  <a:lnTo>
                    <a:pt x="1" y="689"/>
                  </a:lnTo>
                  <a:lnTo>
                    <a:pt x="0" y="679"/>
                  </a:lnTo>
                  <a:lnTo>
                    <a:pt x="1" y="672"/>
                  </a:lnTo>
                  <a:lnTo>
                    <a:pt x="4" y="665"/>
                  </a:lnTo>
                  <a:lnTo>
                    <a:pt x="7" y="662"/>
                  </a:lnTo>
                  <a:lnTo>
                    <a:pt x="10" y="658"/>
                  </a:lnTo>
                  <a:lnTo>
                    <a:pt x="15" y="656"/>
                  </a:lnTo>
                  <a:lnTo>
                    <a:pt x="21" y="654"/>
                  </a:lnTo>
                  <a:lnTo>
                    <a:pt x="27" y="653"/>
                  </a:lnTo>
                  <a:lnTo>
                    <a:pt x="35" y="653"/>
                  </a:lnTo>
                  <a:lnTo>
                    <a:pt x="43" y="653"/>
                  </a:lnTo>
                  <a:lnTo>
                    <a:pt x="52" y="655"/>
                  </a:lnTo>
                  <a:lnTo>
                    <a:pt x="73" y="657"/>
                  </a:lnTo>
                  <a:lnTo>
                    <a:pt x="95" y="659"/>
                  </a:lnTo>
                  <a:lnTo>
                    <a:pt x="119" y="661"/>
                  </a:lnTo>
                  <a:lnTo>
                    <a:pt x="145" y="661"/>
                  </a:lnTo>
                  <a:lnTo>
                    <a:pt x="152" y="661"/>
                  </a:lnTo>
                  <a:lnTo>
                    <a:pt x="153" y="656"/>
                  </a:lnTo>
                  <a:lnTo>
                    <a:pt x="164" y="609"/>
                  </a:lnTo>
                  <a:lnTo>
                    <a:pt x="174" y="563"/>
                  </a:lnTo>
                  <a:lnTo>
                    <a:pt x="184" y="518"/>
                  </a:lnTo>
                  <a:lnTo>
                    <a:pt x="196" y="474"/>
                  </a:lnTo>
                  <a:lnTo>
                    <a:pt x="208" y="431"/>
                  </a:lnTo>
                  <a:lnTo>
                    <a:pt x="220" y="391"/>
                  </a:lnTo>
                  <a:lnTo>
                    <a:pt x="233" y="351"/>
                  </a:lnTo>
                  <a:lnTo>
                    <a:pt x="246" y="312"/>
                  </a:lnTo>
                  <a:lnTo>
                    <a:pt x="260" y="275"/>
                  </a:lnTo>
                  <a:lnTo>
                    <a:pt x="273" y="240"/>
                  </a:lnTo>
                  <a:lnTo>
                    <a:pt x="287" y="205"/>
                  </a:lnTo>
                  <a:lnTo>
                    <a:pt x="301" y="172"/>
                  </a:lnTo>
                  <a:lnTo>
                    <a:pt x="317" y="142"/>
                  </a:lnTo>
                  <a:lnTo>
                    <a:pt x="332" y="113"/>
                  </a:lnTo>
                  <a:lnTo>
                    <a:pt x="347" y="85"/>
                  </a:lnTo>
                  <a:lnTo>
                    <a:pt x="363" y="60"/>
                  </a:lnTo>
                  <a:lnTo>
                    <a:pt x="373" y="46"/>
                  </a:lnTo>
                  <a:lnTo>
                    <a:pt x="383" y="34"/>
                  </a:lnTo>
                  <a:lnTo>
                    <a:pt x="395" y="23"/>
                  </a:lnTo>
                  <a:lnTo>
                    <a:pt x="407" y="15"/>
                  </a:lnTo>
                  <a:lnTo>
                    <a:pt x="420" y="9"/>
                  </a:lnTo>
                  <a:lnTo>
                    <a:pt x="434" y="4"/>
                  </a:lnTo>
                  <a:lnTo>
                    <a:pt x="448" y="1"/>
                  </a:lnTo>
                  <a:lnTo>
                    <a:pt x="463" y="0"/>
                  </a:lnTo>
                  <a:lnTo>
                    <a:pt x="475" y="1"/>
                  </a:lnTo>
                  <a:lnTo>
                    <a:pt x="488" y="3"/>
                  </a:lnTo>
                  <a:lnTo>
                    <a:pt x="500" y="5"/>
                  </a:lnTo>
                  <a:lnTo>
                    <a:pt x="514" y="10"/>
                  </a:lnTo>
                  <a:lnTo>
                    <a:pt x="527" y="15"/>
                  </a:lnTo>
                  <a:lnTo>
                    <a:pt x="541" y="21"/>
                  </a:lnTo>
                  <a:lnTo>
                    <a:pt x="554" y="29"/>
                  </a:lnTo>
                  <a:lnTo>
                    <a:pt x="569" y="39"/>
                  </a:lnTo>
                  <a:lnTo>
                    <a:pt x="580" y="47"/>
                  </a:lnTo>
                  <a:lnTo>
                    <a:pt x="589" y="55"/>
                  </a:lnTo>
                  <a:lnTo>
                    <a:pt x="598" y="64"/>
                  </a:lnTo>
                  <a:lnTo>
                    <a:pt x="606" y="74"/>
                  </a:lnTo>
                  <a:lnTo>
                    <a:pt x="612" y="84"/>
                  </a:lnTo>
                  <a:lnTo>
                    <a:pt x="619" y="95"/>
                  </a:lnTo>
                  <a:lnTo>
                    <a:pt x="624" y="105"/>
                  </a:lnTo>
                  <a:lnTo>
                    <a:pt x="627" y="115"/>
                  </a:lnTo>
                  <a:lnTo>
                    <a:pt x="630" y="126"/>
                  </a:lnTo>
                  <a:lnTo>
                    <a:pt x="632" y="136"/>
                  </a:lnTo>
                  <a:lnTo>
                    <a:pt x="633" y="146"/>
                  </a:lnTo>
                  <a:lnTo>
                    <a:pt x="634" y="156"/>
                  </a:lnTo>
                  <a:lnTo>
                    <a:pt x="633" y="165"/>
                  </a:lnTo>
                  <a:lnTo>
                    <a:pt x="632" y="173"/>
                  </a:lnTo>
                  <a:lnTo>
                    <a:pt x="630" y="181"/>
                  </a:lnTo>
                  <a:lnTo>
                    <a:pt x="627" y="188"/>
                  </a:lnTo>
                  <a:lnTo>
                    <a:pt x="624" y="194"/>
                  </a:lnTo>
                  <a:lnTo>
                    <a:pt x="621" y="200"/>
                  </a:lnTo>
                  <a:lnTo>
                    <a:pt x="617" y="204"/>
                  </a:lnTo>
                  <a:lnTo>
                    <a:pt x="613" y="208"/>
                  </a:lnTo>
                  <a:lnTo>
                    <a:pt x="609" y="210"/>
                  </a:lnTo>
                  <a:lnTo>
                    <a:pt x="606" y="213"/>
                  </a:lnTo>
                  <a:lnTo>
                    <a:pt x="602" y="214"/>
                  </a:lnTo>
                  <a:lnTo>
                    <a:pt x="598" y="214"/>
                  </a:lnTo>
                  <a:lnTo>
                    <a:pt x="595" y="214"/>
                  </a:lnTo>
                  <a:lnTo>
                    <a:pt x="592" y="213"/>
                  </a:lnTo>
                  <a:lnTo>
                    <a:pt x="589" y="211"/>
                  </a:lnTo>
                  <a:lnTo>
                    <a:pt x="587" y="209"/>
                  </a:lnTo>
                  <a:lnTo>
                    <a:pt x="582" y="203"/>
                  </a:lnTo>
                  <a:lnTo>
                    <a:pt x="578" y="195"/>
                  </a:lnTo>
                  <a:lnTo>
                    <a:pt x="573" y="182"/>
                  </a:lnTo>
                  <a:lnTo>
                    <a:pt x="567" y="172"/>
                  </a:lnTo>
                  <a:lnTo>
                    <a:pt x="559" y="163"/>
                  </a:lnTo>
                  <a:lnTo>
                    <a:pt x="552" y="155"/>
                  </a:lnTo>
                  <a:lnTo>
                    <a:pt x="544" y="150"/>
                  </a:lnTo>
                  <a:lnTo>
                    <a:pt x="535" y="146"/>
                  </a:lnTo>
                  <a:lnTo>
                    <a:pt x="525" y="144"/>
                  </a:lnTo>
                  <a:lnTo>
                    <a:pt x="515" y="144"/>
                  </a:lnTo>
                  <a:lnTo>
                    <a:pt x="509" y="144"/>
                  </a:lnTo>
                  <a:lnTo>
                    <a:pt x="503" y="145"/>
                  </a:lnTo>
                  <a:lnTo>
                    <a:pt x="499" y="147"/>
                  </a:lnTo>
                  <a:lnTo>
                    <a:pt x="494" y="149"/>
                  </a:lnTo>
                  <a:lnTo>
                    <a:pt x="486" y="154"/>
                  </a:lnTo>
                  <a:lnTo>
                    <a:pt x="478" y="161"/>
                  </a:lnTo>
                  <a:lnTo>
                    <a:pt x="471" y="170"/>
                  </a:lnTo>
                  <a:lnTo>
                    <a:pt x="464" y="180"/>
                  </a:lnTo>
                  <a:lnTo>
                    <a:pt x="457" y="193"/>
                  </a:lnTo>
                  <a:lnTo>
                    <a:pt x="451" y="206"/>
                  </a:lnTo>
                  <a:lnTo>
                    <a:pt x="432" y="252"/>
                  </a:lnTo>
                  <a:lnTo>
                    <a:pt x="414" y="300"/>
                  </a:lnTo>
                  <a:lnTo>
                    <a:pt x="396" y="351"/>
                  </a:lnTo>
                  <a:lnTo>
                    <a:pt x="378" y="405"/>
                  </a:lnTo>
                  <a:lnTo>
                    <a:pt x="362" y="461"/>
                  </a:lnTo>
                  <a:lnTo>
                    <a:pt x="345" y="519"/>
                  </a:lnTo>
                  <a:lnTo>
                    <a:pt x="331" y="579"/>
                  </a:lnTo>
                  <a:lnTo>
                    <a:pt x="316" y="641"/>
                  </a:lnTo>
                  <a:lnTo>
                    <a:pt x="315" y="649"/>
                  </a:lnTo>
                  <a:lnTo>
                    <a:pt x="323" y="648"/>
                  </a:lnTo>
                  <a:lnTo>
                    <a:pt x="354" y="643"/>
                  </a:lnTo>
                  <a:lnTo>
                    <a:pt x="388" y="638"/>
                  </a:lnTo>
                  <a:lnTo>
                    <a:pt x="422" y="633"/>
                  </a:lnTo>
                  <a:lnTo>
                    <a:pt x="455" y="625"/>
                  </a:lnTo>
                  <a:lnTo>
                    <a:pt x="490" y="619"/>
                  </a:lnTo>
                  <a:lnTo>
                    <a:pt x="525" y="611"/>
                  </a:lnTo>
                  <a:lnTo>
                    <a:pt x="559" y="604"/>
                  </a:lnTo>
                  <a:lnTo>
                    <a:pt x="594" y="595"/>
                  </a:lnTo>
                  <a:lnTo>
                    <a:pt x="595" y="595"/>
                  </a:lnTo>
                  <a:lnTo>
                    <a:pt x="596" y="594"/>
                  </a:lnTo>
                  <a:lnTo>
                    <a:pt x="608" y="583"/>
                  </a:lnTo>
                  <a:lnTo>
                    <a:pt x="622" y="571"/>
                  </a:lnTo>
                  <a:lnTo>
                    <a:pt x="636" y="561"/>
                  </a:lnTo>
                  <a:lnTo>
                    <a:pt x="650" y="551"/>
                  </a:lnTo>
                  <a:lnTo>
                    <a:pt x="666" y="542"/>
                  </a:lnTo>
                  <a:lnTo>
                    <a:pt x="681" y="534"/>
                  </a:lnTo>
                  <a:lnTo>
                    <a:pt x="696" y="525"/>
                  </a:lnTo>
                  <a:lnTo>
                    <a:pt x="712" y="518"/>
                  </a:lnTo>
                  <a:lnTo>
                    <a:pt x="730" y="511"/>
                  </a:lnTo>
                  <a:lnTo>
                    <a:pt x="746" y="506"/>
                  </a:lnTo>
                  <a:lnTo>
                    <a:pt x="762" y="501"/>
                  </a:lnTo>
                  <a:lnTo>
                    <a:pt x="780" y="497"/>
                  </a:lnTo>
                  <a:lnTo>
                    <a:pt x="796" y="493"/>
                  </a:lnTo>
                  <a:lnTo>
                    <a:pt x="812" y="491"/>
                  </a:lnTo>
                  <a:lnTo>
                    <a:pt x="829" y="490"/>
                  </a:lnTo>
                  <a:lnTo>
                    <a:pt x="844" y="489"/>
                  </a:lnTo>
                  <a:lnTo>
                    <a:pt x="891" y="544"/>
                  </a:lnTo>
                  <a:lnTo>
                    <a:pt x="840" y="58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1" name="Freeform 48"/>
            <p:cNvSpPr>
              <a:spLocks/>
            </p:cNvSpPr>
            <p:nvPr userDrawn="1"/>
          </p:nvSpPr>
          <p:spPr bwMode="auto">
            <a:xfrm>
              <a:off x="6540" y="596"/>
              <a:ext cx="34" cy="32"/>
            </a:xfrm>
            <a:custGeom>
              <a:avLst/>
              <a:gdLst>
                <a:gd name="T0" fmla="*/ 255 w 405"/>
                <a:gd name="T1" fmla="*/ 101 h 383"/>
                <a:gd name="T2" fmla="*/ 269 w 405"/>
                <a:gd name="T3" fmla="*/ 105 h 383"/>
                <a:gd name="T4" fmla="*/ 281 w 405"/>
                <a:gd name="T5" fmla="*/ 113 h 383"/>
                <a:gd name="T6" fmla="*/ 289 w 405"/>
                <a:gd name="T7" fmla="*/ 122 h 383"/>
                <a:gd name="T8" fmla="*/ 293 w 405"/>
                <a:gd name="T9" fmla="*/ 132 h 383"/>
                <a:gd name="T10" fmla="*/ 294 w 405"/>
                <a:gd name="T11" fmla="*/ 143 h 383"/>
                <a:gd name="T12" fmla="*/ 290 w 405"/>
                <a:gd name="T13" fmla="*/ 159 h 383"/>
                <a:gd name="T14" fmla="*/ 277 w 405"/>
                <a:gd name="T15" fmla="*/ 177 h 383"/>
                <a:gd name="T16" fmla="*/ 254 w 405"/>
                <a:gd name="T17" fmla="*/ 199 h 383"/>
                <a:gd name="T18" fmla="*/ 221 w 405"/>
                <a:gd name="T19" fmla="*/ 224 h 383"/>
                <a:gd name="T20" fmla="*/ 182 w 405"/>
                <a:gd name="T21" fmla="*/ 249 h 383"/>
                <a:gd name="T22" fmla="*/ 136 w 405"/>
                <a:gd name="T23" fmla="*/ 275 h 383"/>
                <a:gd name="T24" fmla="*/ 99 w 405"/>
                <a:gd name="T25" fmla="*/ 294 h 383"/>
                <a:gd name="T26" fmla="*/ 95 w 405"/>
                <a:gd name="T27" fmla="*/ 383 h 383"/>
                <a:gd name="T28" fmla="*/ 141 w 405"/>
                <a:gd name="T29" fmla="*/ 362 h 383"/>
                <a:gd name="T30" fmla="*/ 223 w 405"/>
                <a:gd name="T31" fmla="*/ 322 h 383"/>
                <a:gd name="T32" fmla="*/ 279 w 405"/>
                <a:gd name="T33" fmla="*/ 289 h 383"/>
                <a:gd name="T34" fmla="*/ 312 w 405"/>
                <a:gd name="T35" fmla="*/ 268 h 383"/>
                <a:gd name="T36" fmla="*/ 341 w 405"/>
                <a:gd name="T37" fmla="*/ 244 h 383"/>
                <a:gd name="T38" fmla="*/ 367 w 405"/>
                <a:gd name="T39" fmla="*/ 221 h 383"/>
                <a:gd name="T40" fmla="*/ 384 w 405"/>
                <a:gd name="T41" fmla="*/ 200 h 383"/>
                <a:gd name="T42" fmla="*/ 394 w 405"/>
                <a:gd name="T43" fmla="*/ 183 h 383"/>
                <a:gd name="T44" fmla="*/ 401 w 405"/>
                <a:gd name="T45" fmla="*/ 167 h 383"/>
                <a:gd name="T46" fmla="*/ 404 w 405"/>
                <a:gd name="T47" fmla="*/ 150 h 383"/>
                <a:gd name="T48" fmla="*/ 405 w 405"/>
                <a:gd name="T49" fmla="*/ 129 h 383"/>
                <a:gd name="T50" fmla="*/ 400 w 405"/>
                <a:gd name="T51" fmla="*/ 103 h 383"/>
                <a:gd name="T52" fmla="*/ 390 w 405"/>
                <a:gd name="T53" fmla="*/ 83 h 383"/>
                <a:gd name="T54" fmla="*/ 378 w 405"/>
                <a:gd name="T55" fmla="*/ 65 h 383"/>
                <a:gd name="T56" fmla="*/ 363 w 405"/>
                <a:gd name="T57" fmla="*/ 48 h 383"/>
                <a:gd name="T58" fmla="*/ 344 w 405"/>
                <a:gd name="T59" fmla="*/ 34 h 383"/>
                <a:gd name="T60" fmla="*/ 324 w 405"/>
                <a:gd name="T61" fmla="*/ 22 h 383"/>
                <a:gd name="T62" fmla="*/ 302 w 405"/>
                <a:gd name="T63" fmla="*/ 12 h 383"/>
                <a:gd name="T64" fmla="*/ 281 w 405"/>
                <a:gd name="T65" fmla="*/ 4 h 383"/>
                <a:gd name="T66" fmla="*/ 259 w 405"/>
                <a:gd name="T67" fmla="*/ 1 h 383"/>
                <a:gd name="T68" fmla="*/ 198 w 405"/>
                <a:gd name="T69" fmla="*/ 59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05" h="383">
                  <a:moveTo>
                    <a:pt x="247" y="101"/>
                  </a:moveTo>
                  <a:lnTo>
                    <a:pt x="255" y="101"/>
                  </a:lnTo>
                  <a:lnTo>
                    <a:pt x="262" y="103"/>
                  </a:lnTo>
                  <a:lnTo>
                    <a:pt x="269" y="105"/>
                  </a:lnTo>
                  <a:lnTo>
                    <a:pt x="275" y="109"/>
                  </a:lnTo>
                  <a:lnTo>
                    <a:pt x="281" y="113"/>
                  </a:lnTo>
                  <a:lnTo>
                    <a:pt x="285" y="117"/>
                  </a:lnTo>
                  <a:lnTo>
                    <a:pt x="289" y="122"/>
                  </a:lnTo>
                  <a:lnTo>
                    <a:pt x="292" y="127"/>
                  </a:lnTo>
                  <a:lnTo>
                    <a:pt x="293" y="132"/>
                  </a:lnTo>
                  <a:lnTo>
                    <a:pt x="294" y="137"/>
                  </a:lnTo>
                  <a:lnTo>
                    <a:pt x="294" y="143"/>
                  </a:lnTo>
                  <a:lnTo>
                    <a:pt x="292" y="150"/>
                  </a:lnTo>
                  <a:lnTo>
                    <a:pt x="290" y="159"/>
                  </a:lnTo>
                  <a:lnTo>
                    <a:pt x="285" y="168"/>
                  </a:lnTo>
                  <a:lnTo>
                    <a:pt x="277" y="177"/>
                  </a:lnTo>
                  <a:lnTo>
                    <a:pt x="268" y="187"/>
                  </a:lnTo>
                  <a:lnTo>
                    <a:pt x="254" y="199"/>
                  </a:lnTo>
                  <a:lnTo>
                    <a:pt x="238" y="212"/>
                  </a:lnTo>
                  <a:lnTo>
                    <a:pt x="221" y="224"/>
                  </a:lnTo>
                  <a:lnTo>
                    <a:pt x="203" y="237"/>
                  </a:lnTo>
                  <a:lnTo>
                    <a:pt x="182" y="249"/>
                  </a:lnTo>
                  <a:lnTo>
                    <a:pt x="160" y="263"/>
                  </a:lnTo>
                  <a:lnTo>
                    <a:pt x="136" y="275"/>
                  </a:lnTo>
                  <a:lnTo>
                    <a:pt x="111" y="288"/>
                  </a:lnTo>
                  <a:lnTo>
                    <a:pt x="99" y="294"/>
                  </a:lnTo>
                  <a:lnTo>
                    <a:pt x="0" y="370"/>
                  </a:lnTo>
                  <a:lnTo>
                    <a:pt x="95" y="383"/>
                  </a:lnTo>
                  <a:lnTo>
                    <a:pt x="99" y="381"/>
                  </a:lnTo>
                  <a:lnTo>
                    <a:pt x="141" y="362"/>
                  </a:lnTo>
                  <a:lnTo>
                    <a:pt x="183" y="342"/>
                  </a:lnTo>
                  <a:lnTo>
                    <a:pt x="223" y="322"/>
                  </a:lnTo>
                  <a:lnTo>
                    <a:pt x="261" y="300"/>
                  </a:lnTo>
                  <a:lnTo>
                    <a:pt x="279" y="289"/>
                  </a:lnTo>
                  <a:lnTo>
                    <a:pt x="295" y="279"/>
                  </a:lnTo>
                  <a:lnTo>
                    <a:pt x="312" y="268"/>
                  </a:lnTo>
                  <a:lnTo>
                    <a:pt x="327" y="257"/>
                  </a:lnTo>
                  <a:lnTo>
                    <a:pt x="341" y="244"/>
                  </a:lnTo>
                  <a:lnTo>
                    <a:pt x="354" y="233"/>
                  </a:lnTo>
                  <a:lnTo>
                    <a:pt x="367" y="221"/>
                  </a:lnTo>
                  <a:lnTo>
                    <a:pt x="377" y="210"/>
                  </a:lnTo>
                  <a:lnTo>
                    <a:pt x="384" y="200"/>
                  </a:lnTo>
                  <a:lnTo>
                    <a:pt x="389" y="192"/>
                  </a:lnTo>
                  <a:lnTo>
                    <a:pt x="394" y="183"/>
                  </a:lnTo>
                  <a:lnTo>
                    <a:pt x="398" y="175"/>
                  </a:lnTo>
                  <a:lnTo>
                    <a:pt x="401" y="167"/>
                  </a:lnTo>
                  <a:lnTo>
                    <a:pt x="403" y="159"/>
                  </a:lnTo>
                  <a:lnTo>
                    <a:pt x="404" y="150"/>
                  </a:lnTo>
                  <a:lnTo>
                    <a:pt x="405" y="143"/>
                  </a:lnTo>
                  <a:lnTo>
                    <a:pt x="405" y="129"/>
                  </a:lnTo>
                  <a:lnTo>
                    <a:pt x="403" y="116"/>
                  </a:lnTo>
                  <a:lnTo>
                    <a:pt x="400" y="103"/>
                  </a:lnTo>
                  <a:lnTo>
                    <a:pt x="395" y="92"/>
                  </a:lnTo>
                  <a:lnTo>
                    <a:pt x="390" y="83"/>
                  </a:lnTo>
                  <a:lnTo>
                    <a:pt x="385" y="74"/>
                  </a:lnTo>
                  <a:lnTo>
                    <a:pt x="378" y="65"/>
                  </a:lnTo>
                  <a:lnTo>
                    <a:pt x="371" y="56"/>
                  </a:lnTo>
                  <a:lnTo>
                    <a:pt x="363" y="48"/>
                  </a:lnTo>
                  <a:lnTo>
                    <a:pt x="353" y="40"/>
                  </a:lnTo>
                  <a:lnTo>
                    <a:pt x="344" y="34"/>
                  </a:lnTo>
                  <a:lnTo>
                    <a:pt x="334" y="27"/>
                  </a:lnTo>
                  <a:lnTo>
                    <a:pt x="324" y="22"/>
                  </a:lnTo>
                  <a:lnTo>
                    <a:pt x="314" y="16"/>
                  </a:lnTo>
                  <a:lnTo>
                    <a:pt x="302" y="12"/>
                  </a:lnTo>
                  <a:lnTo>
                    <a:pt x="292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9" y="1"/>
                  </a:lnTo>
                  <a:lnTo>
                    <a:pt x="247" y="0"/>
                  </a:lnTo>
                  <a:lnTo>
                    <a:pt x="198" y="59"/>
                  </a:lnTo>
                  <a:lnTo>
                    <a:pt x="247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2" name="Freeform 49"/>
            <p:cNvSpPr>
              <a:spLocks/>
            </p:cNvSpPr>
            <p:nvPr userDrawn="1"/>
          </p:nvSpPr>
          <p:spPr bwMode="auto">
            <a:xfrm>
              <a:off x="6473" y="596"/>
              <a:ext cx="191" cy="122"/>
            </a:xfrm>
            <a:custGeom>
              <a:avLst/>
              <a:gdLst>
                <a:gd name="T0" fmla="*/ 982 w 2289"/>
                <a:gd name="T1" fmla="*/ 130 h 1460"/>
                <a:gd name="T2" fmla="*/ 920 w 2289"/>
                <a:gd name="T3" fmla="*/ 214 h 1460"/>
                <a:gd name="T4" fmla="*/ 891 w 2289"/>
                <a:gd name="T5" fmla="*/ 387 h 1460"/>
                <a:gd name="T6" fmla="*/ 936 w 2289"/>
                <a:gd name="T7" fmla="*/ 481 h 1460"/>
                <a:gd name="T8" fmla="*/ 1034 w 2289"/>
                <a:gd name="T9" fmla="*/ 514 h 1460"/>
                <a:gd name="T10" fmla="*/ 1200 w 2289"/>
                <a:gd name="T11" fmla="*/ 464 h 1460"/>
                <a:gd name="T12" fmla="*/ 1394 w 2289"/>
                <a:gd name="T13" fmla="*/ 312 h 1460"/>
                <a:gd name="T14" fmla="*/ 1433 w 2289"/>
                <a:gd name="T15" fmla="*/ 157 h 1460"/>
                <a:gd name="T16" fmla="*/ 1486 w 2289"/>
                <a:gd name="T17" fmla="*/ 59 h 1460"/>
                <a:gd name="T18" fmla="*/ 1544 w 2289"/>
                <a:gd name="T19" fmla="*/ 51 h 1460"/>
                <a:gd name="T20" fmla="*/ 1625 w 2289"/>
                <a:gd name="T21" fmla="*/ 91 h 1460"/>
                <a:gd name="T22" fmla="*/ 1634 w 2289"/>
                <a:gd name="T23" fmla="*/ 139 h 1460"/>
                <a:gd name="T24" fmla="*/ 1565 w 2289"/>
                <a:gd name="T25" fmla="*/ 346 h 1460"/>
                <a:gd name="T26" fmla="*/ 1568 w 2289"/>
                <a:gd name="T27" fmla="*/ 436 h 1460"/>
                <a:gd name="T28" fmla="*/ 1616 w 2289"/>
                <a:gd name="T29" fmla="*/ 424 h 1460"/>
                <a:gd name="T30" fmla="*/ 1755 w 2289"/>
                <a:gd name="T31" fmla="*/ 283 h 1460"/>
                <a:gd name="T32" fmla="*/ 1888 w 2289"/>
                <a:gd name="T33" fmla="*/ 183 h 1460"/>
                <a:gd name="T34" fmla="*/ 1988 w 2289"/>
                <a:gd name="T35" fmla="*/ 199 h 1460"/>
                <a:gd name="T36" fmla="*/ 2063 w 2289"/>
                <a:gd name="T37" fmla="*/ 256 h 1460"/>
                <a:gd name="T38" fmla="*/ 2136 w 2289"/>
                <a:gd name="T39" fmla="*/ 408 h 1460"/>
                <a:gd name="T40" fmla="*/ 2229 w 2289"/>
                <a:gd name="T41" fmla="*/ 531 h 1460"/>
                <a:gd name="T42" fmla="*/ 2287 w 2289"/>
                <a:gd name="T43" fmla="*/ 580 h 1460"/>
                <a:gd name="T44" fmla="*/ 2259 w 2289"/>
                <a:gd name="T45" fmla="*/ 612 h 1460"/>
                <a:gd name="T46" fmla="*/ 2126 w 2289"/>
                <a:gd name="T47" fmla="*/ 583 h 1460"/>
                <a:gd name="T48" fmla="*/ 1973 w 2289"/>
                <a:gd name="T49" fmla="*/ 441 h 1460"/>
                <a:gd name="T50" fmla="*/ 1884 w 2289"/>
                <a:gd name="T51" fmla="*/ 335 h 1460"/>
                <a:gd name="T52" fmla="*/ 1759 w 2289"/>
                <a:gd name="T53" fmla="*/ 434 h 1460"/>
                <a:gd name="T54" fmla="*/ 1620 w 2289"/>
                <a:gd name="T55" fmla="*/ 580 h 1460"/>
                <a:gd name="T56" fmla="*/ 1534 w 2289"/>
                <a:gd name="T57" fmla="*/ 588 h 1460"/>
                <a:gd name="T58" fmla="*/ 1425 w 2289"/>
                <a:gd name="T59" fmla="*/ 523 h 1460"/>
                <a:gd name="T60" fmla="*/ 1351 w 2289"/>
                <a:gd name="T61" fmla="*/ 466 h 1460"/>
                <a:gd name="T62" fmla="*/ 1157 w 2289"/>
                <a:gd name="T63" fmla="*/ 584 h 1460"/>
                <a:gd name="T64" fmla="*/ 993 w 2289"/>
                <a:gd name="T65" fmla="*/ 613 h 1460"/>
                <a:gd name="T66" fmla="*/ 823 w 2289"/>
                <a:gd name="T67" fmla="*/ 555 h 1460"/>
                <a:gd name="T68" fmla="*/ 720 w 2289"/>
                <a:gd name="T69" fmla="*/ 457 h 1460"/>
                <a:gd name="T70" fmla="*/ 448 w 2289"/>
                <a:gd name="T71" fmla="*/ 594 h 1460"/>
                <a:gd name="T72" fmla="*/ 392 w 2289"/>
                <a:gd name="T73" fmla="*/ 862 h 1460"/>
                <a:gd name="T74" fmla="*/ 328 w 2289"/>
                <a:gd name="T75" fmla="*/ 1161 h 1460"/>
                <a:gd name="T76" fmla="*/ 215 w 2289"/>
                <a:gd name="T77" fmla="*/ 1376 h 1460"/>
                <a:gd name="T78" fmla="*/ 114 w 2289"/>
                <a:gd name="T79" fmla="*/ 1448 h 1460"/>
                <a:gd name="T80" fmla="*/ 0 w 2289"/>
                <a:gd name="T81" fmla="*/ 1423 h 1460"/>
                <a:gd name="T82" fmla="*/ 95 w 2289"/>
                <a:gd name="T83" fmla="*/ 1349 h 1460"/>
                <a:gd name="T84" fmla="*/ 163 w 2289"/>
                <a:gd name="T85" fmla="*/ 1228 h 1460"/>
                <a:gd name="T86" fmla="*/ 213 w 2289"/>
                <a:gd name="T87" fmla="*/ 1035 h 1460"/>
                <a:gd name="T88" fmla="*/ 240 w 2289"/>
                <a:gd name="T89" fmla="*/ 617 h 1460"/>
                <a:gd name="T90" fmla="*/ 195 w 2289"/>
                <a:gd name="T91" fmla="*/ 511 h 1460"/>
                <a:gd name="T92" fmla="*/ 92 w 2289"/>
                <a:gd name="T93" fmla="*/ 565 h 1460"/>
                <a:gd name="T94" fmla="*/ 143 w 2289"/>
                <a:gd name="T95" fmla="*/ 433 h 1460"/>
                <a:gd name="T96" fmla="*/ 254 w 2289"/>
                <a:gd name="T97" fmla="*/ 332 h 1460"/>
                <a:gd name="T98" fmla="*/ 297 w 2289"/>
                <a:gd name="T99" fmla="*/ 230 h 1460"/>
                <a:gd name="T100" fmla="*/ 267 w 2289"/>
                <a:gd name="T101" fmla="*/ 178 h 1460"/>
                <a:gd name="T102" fmla="*/ 261 w 2289"/>
                <a:gd name="T103" fmla="*/ 74 h 1460"/>
                <a:gd name="T104" fmla="*/ 335 w 2289"/>
                <a:gd name="T105" fmla="*/ 118 h 1460"/>
                <a:gd name="T106" fmla="*/ 398 w 2289"/>
                <a:gd name="T107" fmla="*/ 108 h 1460"/>
                <a:gd name="T108" fmla="*/ 489 w 2289"/>
                <a:gd name="T109" fmla="*/ 137 h 1460"/>
                <a:gd name="T110" fmla="*/ 505 w 2289"/>
                <a:gd name="T111" fmla="*/ 181 h 1460"/>
                <a:gd name="T112" fmla="*/ 456 w 2289"/>
                <a:gd name="T113" fmla="*/ 322 h 1460"/>
                <a:gd name="T114" fmla="*/ 427 w 2289"/>
                <a:gd name="T115" fmla="*/ 510 h 1460"/>
                <a:gd name="T116" fmla="*/ 690 w 2289"/>
                <a:gd name="T117" fmla="*/ 385 h 1460"/>
                <a:gd name="T118" fmla="*/ 720 w 2289"/>
                <a:gd name="T119" fmla="*/ 256 h 1460"/>
                <a:gd name="T120" fmla="*/ 812 w 2289"/>
                <a:gd name="T121" fmla="*/ 126 h 1460"/>
                <a:gd name="T122" fmla="*/ 957 w 2289"/>
                <a:gd name="T123" fmla="*/ 26 h 1460"/>
                <a:gd name="T124" fmla="*/ 1042 w 2289"/>
                <a:gd name="T125" fmla="*/ 101 h 1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289" h="1460">
                  <a:moveTo>
                    <a:pt x="1042" y="101"/>
                  </a:moveTo>
                  <a:lnTo>
                    <a:pt x="1034" y="101"/>
                  </a:lnTo>
                  <a:lnTo>
                    <a:pt x="1027" y="103"/>
                  </a:lnTo>
                  <a:lnTo>
                    <a:pt x="1020" y="105"/>
                  </a:lnTo>
                  <a:lnTo>
                    <a:pt x="1013" y="109"/>
                  </a:lnTo>
                  <a:lnTo>
                    <a:pt x="1003" y="116"/>
                  </a:lnTo>
                  <a:lnTo>
                    <a:pt x="992" y="122"/>
                  </a:lnTo>
                  <a:lnTo>
                    <a:pt x="982" y="130"/>
                  </a:lnTo>
                  <a:lnTo>
                    <a:pt x="973" y="138"/>
                  </a:lnTo>
                  <a:lnTo>
                    <a:pt x="964" y="147"/>
                  </a:lnTo>
                  <a:lnTo>
                    <a:pt x="956" y="158"/>
                  </a:lnTo>
                  <a:lnTo>
                    <a:pt x="948" y="168"/>
                  </a:lnTo>
                  <a:lnTo>
                    <a:pt x="939" y="178"/>
                  </a:lnTo>
                  <a:lnTo>
                    <a:pt x="932" y="189"/>
                  </a:lnTo>
                  <a:lnTo>
                    <a:pt x="926" y="201"/>
                  </a:lnTo>
                  <a:lnTo>
                    <a:pt x="920" y="214"/>
                  </a:lnTo>
                  <a:lnTo>
                    <a:pt x="914" y="226"/>
                  </a:lnTo>
                  <a:lnTo>
                    <a:pt x="909" y="239"/>
                  </a:lnTo>
                  <a:lnTo>
                    <a:pt x="905" y="253"/>
                  </a:lnTo>
                  <a:lnTo>
                    <a:pt x="901" y="268"/>
                  </a:lnTo>
                  <a:lnTo>
                    <a:pt x="898" y="282"/>
                  </a:lnTo>
                  <a:lnTo>
                    <a:pt x="894" y="294"/>
                  </a:lnTo>
                  <a:lnTo>
                    <a:pt x="890" y="383"/>
                  </a:lnTo>
                  <a:lnTo>
                    <a:pt x="891" y="387"/>
                  </a:lnTo>
                  <a:lnTo>
                    <a:pt x="893" y="401"/>
                  </a:lnTo>
                  <a:lnTo>
                    <a:pt x="898" y="416"/>
                  </a:lnTo>
                  <a:lnTo>
                    <a:pt x="902" y="429"/>
                  </a:lnTo>
                  <a:lnTo>
                    <a:pt x="907" y="441"/>
                  </a:lnTo>
                  <a:lnTo>
                    <a:pt x="913" y="453"/>
                  </a:lnTo>
                  <a:lnTo>
                    <a:pt x="920" y="463"/>
                  </a:lnTo>
                  <a:lnTo>
                    <a:pt x="928" y="472"/>
                  </a:lnTo>
                  <a:lnTo>
                    <a:pt x="936" y="481"/>
                  </a:lnTo>
                  <a:lnTo>
                    <a:pt x="947" y="488"/>
                  </a:lnTo>
                  <a:lnTo>
                    <a:pt x="957" y="495"/>
                  </a:lnTo>
                  <a:lnTo>
                    <a:pt x="968" y="500"/>
                  </a:lnTo>
                  <a:lnTo>
                    <a:pt x="979" y="506"/>
                  </a:lnTo>
                  <a:lnTo>
                    <a:pt x="992" y="510"/>
                  </a:lnTo>
                  <a:lnTo>
                    <a:pt x="1006" y="512"/>
                  </a:lnTo>
                  <a:lnTo>
                    <a:pt x="1019" y="514"/>
                  </a:lnTo>
                  <a:lnTo>
                    <a:pt x="1034" y="514"/>
                  </a:lnTo>
                  <a:lnTo>
                    <a:pt x="1054" y="513"/>
                  </a:lnTo>
                  <a:lnTo>
                    <a:pt x="1073" y="511"/>
                  </a:lnTo>
                  <a:lnTo>
                    <a:pt x="1093" y="507"/>
                  </a:lnTo>
                  <a:lnTo>
                    <a:pt x="1114" y="501"/>
                  </a:lnTo>
                  <a:lnTo>
                    <a:pt x="1135" y="494"/>
                  </a:lnTo>
                  <a:lnTo>
                    <a:pt x="1157" y="485"/>
                  </a:lnTo>
                  <a:lnTo>
                    <a:pt x="1178" y="475"/>
                  </a:lnTo>
                  <a:lnTo>
                    <a:pt x="1200" y="464"/>
                  </a:lnTo>
                  <a:lnTo>
                    <a:pt x="1224" y="449"/>
                  </a:lnTo>
                  <a:lnTo>
                    <a:pt x="1246" y="435"/>
                  </a:lnTo>
                  <a:lnTo>
                    <a:pt x="1271" y="418"/>
                  </a:lnTo>
                  <a:lnTo>
                    <a:pt x="1294" y="400"/>
                  </a:lnTo>
                  <a:lnTo>
                    <a:pt x="1319" y="380"/>
                  </a:lnTo>
                  <a:lnTo>
                    <a:pt x="1343" y="359"/>
                  </a:lnTo>
                  <a:lnTo>
                    <a:pt x="1369" y="336"/>
                  </a:lnTo>
                  <a:lnTo>
                    <a:pt x="1394" y="312"/>
                  </a:lnTo>
                  <a:lnTo>
                    <a:pt x="1395" y="311"/>
                  </a:lnTo>
                  <a:lnTo>
                    <a:pt x="1396" y="309"/>
                  </a:lnTo>
                  <a:lnTo>
                    <a:pt x="1401" y="279"/>
                  </a:lnTo>
                  <a:lnTo>
                    <a:pt x="1407" y="252"/>
                  </a:lnTo>
                  <a:lnTo>
                    <a:pt x="1413" y="227"/>
                  </a:lnTo>
                  <a:lnTo>
                    <a:pt x="1419" y="203"/>
                  </a:lnTo>
                  <a:lnTo>
                    <a:pt x="1425" y="180"/>
                  </a:lnTo>
                  <a:lnTo>
                    <a:pt x="1433" y="157"/>
                  </a:lnTo>
                  <a:lnTo>
                    <a:pt x="1441" y="133"/>
                  </a:lnTo>
                  <a:lnTo>
                    <a:pt x="1450" y="110"/>
                  </a:lnTo>
                  <a:lnTo>
                    <a:pt x="1457" y="96"/>
                  </a:lnTo>
                  <a:lnTo>
                    <a:pt x="1463" y="84"/>
                  </a:lnTo>
                  <a:lnTo>
                    <a:pt x="1470" y="74"/>
                  </a:lnTo>
                  <a:lnTo>
                    <a:pt x="1477" y="65"/>
                  </a:lnTo>
                  <a:lnTo>
                    <a:pt x="1482" y="62"/>
                  </a:lnTo>
                  <a:lnTo>
                    <a:pt x="1486" y="59"/>
                  </a:lnTo>
                  <a:lnTo>
                    <a:pt x="1491" y="55"/>
                  </a:lnTo>
                  <a:lnTo>
                    <a:pt x="1496" y="52"/>
                  </a:lnTo>
                  <a:lnTo>
                    <a:pt x="1501" y="51"/>
                  </a:lnTo>
                  <a:lnTo>
                    <a:pt x="1508" y="49"/>
                  </a:lnTo>
                  <a:lnTo>
                    <a:pt x="1515" y="48"/>
                  </a:lnTo>
                  <a:lnTo>
                    <a:pt x="1521" y="48"/>
                  </a:lnTo>
                  <a:lnTo>
                    <a:pt x="1532" y="49"/>
                  </a:lnTo>
                  <a:lnTo>
                    <a:pt x="1544" y="51"/>
                  </a:lnTo>
                  <a:lnTo>
                    <a:pt x="1557" y="54"/>
                  </a:lnTo>
                  <a:lnTo>
                    <a:pt x="1573" y="59"/>
                  </a:lnTo>
                  <a:lnTo>
                    <a:pt x="1584" y="64"/>
                  </a:lnTo>
                  <a:lnTo>
                    <a:pt x="1594" y="68"/>
                  </a:lnTo>
                  <a:lnTo>
                    <a:pt x="1603" y="73"/>
                  </a:lnTo>
                  <a:lnTo>
                    <a:pt x="1612" y="79"/>
                  </a:lnTo>
                  <a:lnTo>
                    <a:pt x="1619" y="85"/>
                  </a:lnTo>
                  <a:lnTo>
                    <a:pt x="1625" y="91"/>
                  </a:lnTo>
                  <a:lnTo>
                    <a:pt x="1629" y="97"/>
                  </a:lnTo>
                  <a:lnTo>
                    <a:pt x="1633" y="104"/>
                  </a:lnTo>
                  <a:lnTo>
                    <a:pt x="1635" y="110"/>
                  </a:lnTo>
                  <a:lnTo>
                    <a:pt x="1636" y="116"/>
                  </a:lnTo>
                  <a:lnTo>
                    <a:pt x="1636" y="121"/>
                  </a:lnTo>
                  <a:lnTo>
                    <a:pt x="1636" y="127"/>
                  </a:lnTo>
                  <a:lnTo>
                    <a:pt x="1636" y="133"/>
                  </a:lnTo>
                  <a:lnTo>
                    <a:pt x="1634" y="139"/>
                  </a:lnTo>
                  <a:lnTo>
                    <a:pt x="1632" y="145"/>
                  </a:lnTo>
                  <a:lnTo>
                    <a:pt x="1630" y="151"/>
                  </a:lnTo>
                  <a:lnTo>
                    <a:pt x="1614" y="187"/>
                  </a:lnTo>
                  <a:lnTo>
                    <a:pt x="1599" y="222"/>
                  </a:lnTo>
                  <a:lnTo>
                    <a:pt x="1588" y="254"/>
                  </a:lnTo>
                  <a:lnTo>
                    <a:pt x="1579" y="286"/>
                  </a:lnTo>
                  <a:lnTo>
                    <a:pt x="1571" y="317"/>
                  </a:lnTo>
                  <a:lnTo>
                    <a:pt x="1565" y="346"/>
                  </a:lnTo>
                  <a:lnTo>
                    <a:pt x="1562" y="376"/>
                  </a:lnTo>
                  <a:lnTo>
                    <a:pt x="1560" y="406"/>
                  </a:lnTo>
                  <a:lnTo>
                    <a:pt x="1560" y="414"/>
                  </a:lnTo>
                  <a:lnTo>
                    <a:pt x="1561" y="422"/>
                  </a:lnTo>
                  <a:lnTo>
                    <a:pt x="1562" y="426"/>
                  </a:lnTo>
                  <a:lnTo>
                    <a:pt x="1563" y="430"/>
                  </a:lnTo>
                  <a:lnTo>
                    <a:pt x="1565" y="433"/>
                  </a:lnTo>
                  <a:lnTo>
                    <a:pt x="1568" y="436"/>
                  </a:lnTo>
                  <a:lnTo>
                    <a:pt x="1572" y="439"/>
                  </a:lnTo>
                  <a:lnTo>
                    <a:pt x="1576" y="441"/>
                  </a:lnTo>
                  <a:lnTo>
                    <a:pt x="1581" y="442"/>
                  </a:lnTo>
                  <a:lnTo>
                    <a:pt x="1587" y="441"/>
                  </a:lnTo>
                  <a:lnTo>
                    <a:pt x="1593" y="439"/>
                  </a:lnTo>
                  <a:lnTo>
                    <a:pt x="1600" y="435"/>
                  </a:lnTo>
                  <a:lnTo>
                    <a:pt x="1607" y="430"/>
                  </a:lnTo>
                  <a:lnTo>
                    <a:pt x="1616" y="424"/>
                  </a:lnTo>
                  <a:lnTo>
                    <a:pt x="1626" y="414"/>
                  </a:lnTo>
                  <a:lnTo>
                    <a:pt x="1639" y="401"/>
                  </a:lnTo>
                  <a:lnTo>
                    <a:pt x="1653" y="386"/>
                  </a:lnTo>
                  <a:lnTo>
                    <a:pt x="1670" y="369"/>
                  </a:lnTo>
                  <a:lnTo>
                    <a:pt x="1690" y="348"/>
                  </a:lnTo>
                  <a:lnTo>
                    <a:pt x="1710" y="327"/>
                  </a:lnTo>
                  <a:lnTo>
                    <a:pt x="1733" y="306"/>
                  </a:lnTo>
                  <a:lnTo>
                    <a:pt x="1755" y="283"/>
                  </a:lnTo>
                  <a:lnTo>
                    <a:pt x="1778" y="262"/>
                  </a:lnTo>
                  <a:lnTo>
                    <a:pt x="1801" y="242"/>
                  </a:lnTo>
                  <a:lnTo>
                    <a:pt x="1824" y="224"/>
                  </a:lnTo>
                  <a:lnTo>
                    <a:pt x="1845" y="208"/>
                  </a:lnTo>
                  <a:lnTo>
                    <a:pt x="1850" y="204"/>
                  </a:lnTo>
                  <a:lnTo>
                    <a:pt x="1865" y="195"/>
                  </a:lnTo>
                  <a:lnTo>
                    <a:pt x="1880" y="187"/>
                  </a:lnTo>
                  <a:lnTo>
                    <a:pt x="1888" y="183"/>
                  </a:lnTo>
                  <a:lnTo>
                    <a:pt x="1897" y="181"/>
                  </a:lnTo>
                  <a:lnTo>
                    <a:pt x="1906" y="179"/>
                  </a:lnTo>
                  <a:lnTo>
                    <a:pt x="1917" y="178"/>
                  </a:lnTo>
                  <a:lnTo>
                    <a:pt x="1927" y="179"/>
                  </a:lnTo>
                  <a:lnTo>
                    <a:pt x="1937" y="181"/>
                  </a:lnTo>
                  <a:lnTo>
                    <a:pt x="1948" y="183"/>
                  </a:lnTo>
                  <a:lnTo>
                    <a:pt x="1959" y="187"/>
                  </a:lnTo>
                  <a:lnTo>
                    <a:pt x="1988" y="199"/>
                  </a:lnTo>
                  <a:lnTo>
                    <a:pt x="2011" y="212"/>
                  </a:lnTo>
                  <a:lnTo>
                    <a:pt x="2022" y="218"/>
                  </a:lnTo>
                  <a:lnTo>
                    <a:pt x="2030" y="224"/>
                  </a:lnTo>
                  <a:lnTo>
                    <a:pt x="2039" y="230"/>
                  </a:lnTo>
                  <a:lnTo>
                    <a:pt x="2046" y="236"/>
                  </a:lnTo>
                  <a:lnTo>
                    <a:pt x="2052" y="242"/>
                  </a:lnTo>
                  <a:lnTo>
                    <a:pt x="2058" y="249"/>
                  </a:lnTo>
                  <a:lnTo>
                    <a:pt x="2063" y="256"/>
                  </a:lnTo>
                  <a:lnTo>
                    <a:pt x="2069" y="263"/>
                  </a:lnTo>
                  <a:lnTo>
                    <a:pt x="2077" y="278"/>
                  </a:lnTo>
                  <a:lnTo>
                    <a:pt x="2084" y="294"/>
                  </a:lnTo>
                  <a:lnTo>
                    <a:pt x="2094" y="320"/>
                  </a:lnTo>
                  <a:lnTo>
                    <a:pt x="2104" y="343"/>
                  </a:lnTo>
                  <a:lnTo>
                    <a:pt x="2115" y="366"/>
                  </a:lnTo>
                  <a:lnTo>
                    <a:pt x="2126" y="387"/>
                  </a:lnTo>
                  <a:lnTo>
                    <a:pt x="2136" y="408"/>
                  </a:lnTo>
                  <a:lnTo>
                    <a:pt x="2147" y="427"/>
                  </a:lnTo>
                  <a:lnTo>
                    <a:pt x="2158" y="444"/>
                  </a:lnTo>
                  <a:lnTo>
                    <a:pt x="2169" y="462"/>
                  </a:lnTo>
                  <a:lnTo>
                    <a:pt x="2181" y="478"/>
                  </a:lnTo>
                  <a:lnTo>
                    <a:pt x="2192" y="492"/>
                  </a:lnTo>
                  <a:lnTo>
                    <a:pt x="2204" y="507"/>
                  </a:lnTo>
                  <a:lnTo>
                    <a:pt x="2216" y="519"/>
                  </a:lnTo>
                  <a:lnTo>
                    <a:pt x="2229" y="531"/>
                  </a:lnTo>
                  <a:lnTo>
                    <a:pt x="2241" y="541"/>
                  </a:lnTo>
                  <a:lnTo>
                    <a:pt x="2253" y="552"/>
                  </a:lnTo>
                  <a:lnTo>
                    <a:pt x="2266" y="560"/>
                  </a:lnTo>
                  <a:lnTo>
                    <a:pt x="2273" y="564"/>
                  </a:lnTo>
                  <a:lnTo>
                    <a:pt x="2278" y="568"/>
                  </a:lnTo>
                  <a:lnTo>
                    <a:pt x="2282" y="572"/>
                  </a:lnTo>
                  <a:lnTo>
                    <a:pt x="2285" y="576"/>
                  </a:lnTo>
                  <a:lnTo>
                    <a:pt x="2287" y="580"/>
                  </a:lnTo>
                  <a:lnTo>
                    <a:pt x="2289" y="584"/>
                  </a:lnTo>
                  <a:lnTo>
                    <a:pt x="2289" y="588"/>
                  </a:lnTo>
                  <a:lnTo>
                    <a:pt x="2289" y="592"/>
                  </a:lnTo>
                  <a:lnTo>
                    <a:pt x="2286" y="597"/>
                  </a:lnTo>
                  <a:lnTo>
                    <a:pt x="2282" y="602"/>
                  </a:lnTo>
                  <a:lnTo>
                    <a:pt x="2276" y="606"/>
                  </a:lnTo>
                  <a:lnTo>
                    <a:pt x="2267" y="609"/>
                  </a:lnTo>
                  <a:lnTo>
                    <a:pt x="2259" y="612"/>
                  </a:lnTo>
                  <a:lnTo>
                    <a:pt x="2249" y="613"/>
                  </a:lnTo>
                  <a:lnTo>
                    <a:pt x="2238" y="614"/>
                  </a:lnTo>
                  <a:lnTo>
                    <a:pt x="2226" y="614"/>
                  </a:lnTo>
                  <a:lnTo>
                    <a:pt x="2205" y="611"/>
                  </a:lnTo>
                  <a:lnTo>
                    <a:pt x="2186" y="607"/>
                  </a:lnTo>
                  <a:lnTo>
                    <a:pt x="2165" y="601"/>
                  </a:lnTo>
                  <a:lnTo>
                    <a:pt x="2145" y="592"/>
                  </a:lnTo>
                  <a:lnTo>
                    <a:pt x="2126" y="583"/>
                  </a:lnTo>
                  <a:lnTo>
                    <a:pt x="2106" y="571"/>
                  </a:lnTo>
                  <a:lnTo>
                    <a:pt x="2086" y="558"/>
                  </a:lnTo>
                  <a:lnTo>
                    <a:pt x="2066" y="543"/>
                  </a:lnTo>
                  <a:lnTo>
                    <a:pt x="2047" y="526"/>
                  </a:lnTo>
                  <a:lnTo>
                    <a:pt x="2029" y="508"/>
                  </a:lnTo>
                  <a:lnTo>
                    <a:pt x="2009" y="487"/>
                  </a:lnTo>
                  <a:lnTo>
                    <a:pt x="1991" y="465"/>
                  </a:lnTo>
                  <a:lnTo>
                    <a:pt x="1973" y="441"/>
                  </a:lnTo>
                  <a:lnTo>
                    <a:pt x="1954" y="416"/>
                  </a:lnTo>
                  <a:lnTo>
                    <a:pt x="1937" y="388"/>
                  </a:lnTo>
                  <a:lnTo>
                    <a:pt x="1920" y="360"/>
                  </a:lnTo>
                  <a:lnTo>
                    <a:pt x="1913" y="351"/>
                  </a:lnTo>
                  <a:lnTo>
                    <a:pt x="1906" y="344"/>
                  </a:lnTo>
                  <a:lnTo>
                    <a:pt x="1899" y="339"/>
                  </a:lnTo>
                  <a:lnTo>
                    <a:pt x="1892" y="336"/>
                  </a:lnTo>
                  <a:lnTo>
                    <a:pt x="1884" y="335"/>
                  </a:lnTo>
                  <a:lnTo>
                    <a:pt x="1875" y="335"/>
                  </a:lnTo>
                  <a:lnTo>
                    <a:pt x="1867" y="338"/>
                  </a:lnTo>
                  <a:lnTo>
                    <a:pt x="1857" y="343"/>
                  </a:lnTo>
                  <a:lnTo>
                    <a:pt x="1838" y="358"/>
                  </a:lnTo>
                  <a:lnTo>
                    <a:pt x="1821" y="372"/>
                  </a:lnTo>
                  <a:lnTo>
                    <a:pt x="1804" y="387"/>
                  </a:lnTo>
                  <a:lnTo>
                    <a:pt x="1789" y="402"/>
                  </a:lnTo>
                  <a:lnTo>
                    <a:pt x="1759" y="434"/>
                  </a:lnTo>
                  <a:lnTo>
                    <a:pt x="1730" y="468"/>
                  </a:lnTo>
                  <a:lnTo>
                    <a:pt x="1712" y="488"/>
                  </a:lnTo>
                  <a:lnTo>
                    <a:pt x="1692" y="511"/>
                  </a:lnTo>
                  <a:lnTo>
                    <a:pt x="1671" y="535"/>
                  </a:lnTo>
                  <a:lnTo>
                    <a:pt x="1647" y="560"/>
                  </a:lnTo>
                  <a:lnTo>
                    <a:pt x="1638" y="568"/>
                  </a:lnTo>
                  <a:lnTo>
                    <a:pt x="1629" y="574"/>
                  </a:lnTo>
                  <a:lnTo>
                    <a:pt x="1620" y="580"/>
                  </a:lnTo>
                  <a:lnTo>
                    <a:pt x="1611" y="585"/>
                  </a:lnTo>
                  <a:lnTo>
                    <a:pt x="1600" y="588"/>
                  </a:lnTo>
                  <a:lnTo>
                    <a:pt x="1590" y="591"/>
                  </a:lnTo>
                  <a:lnTo>
                    <a:pt x="1580" y="592"/>
                  </a:lnTo>
                  <a:lnTo>
                    <a:pt x="1569" y="593"/>
                  </a:lnTo>
                  <a:lnTo>
                    <a:pt x="1557" y="592"/>
                  </a:lnTo>
                  <a:lnTo>
                    <a:pt x="1545" y="590"/>
                  </a:lnTo>
                  <a:lnTo>
                    <a:pt x="1534" y="588"/>
                  </a:lnTo>
                  <a:lnTo>
                    <a:pt x="1522" y="584"/>
                  </a:lnTo>
                  <a:lnTo>
                    <a:pt x="1509" y="579"/>
                  </a:lnTo>
                  <a:lnTo>
                    <a:pt x="1495" y="573"/>
                  </a:lnTo>
                  <a:lnTo>
                    <a:pt x="1482" y="566"/>
                  </a:lnTo>
                  <a:lnTo>
                    <a:pt x="1469" y="558"/>
                  </a:lnTo>
                  <a:lnTo>
                    <a:pt x="1452" y="546"/>
                  </a:lnTo>
                  <a:lnTo>
                    <a:pt x="1438" y="535"/>
                  </a:lnTo>
                  <a:lnTo>
                    <a:pt x="1425" y="523"/>
                  </a:lnTo>
                  <a:lnTo>
                    <a:pt x="1414" y="510"/>
                  </a:lnTo>
                  <a:lnTo>
                    <a:pt x="1404" y="495"/>
                  </a:lnTo>
                  <a:lnTo>
                    <a:pt x="1397" y="480"/>
                  </a:lnTo>
                  <a:lnTo>
                    <a:pt x="1391" y="464"/>
                  </a:lnTo>
                  <a:lnTo>
                    <a:pt x="1387" y="446"/>
                  </a:lnTo>
                  <a:lnTo>
                    <a:pt x="1385" y="437"/>
                  </a:lnTo>
                  <a:lnTo>
                    <a:pt x="1378" y="443"/>
                  </a:lnTo>
                  <a:lnTo>
                    <a:pt x="1351" y="466"/>
                  </a:lnTo>
                  <a:lnTo>
                    <a:pt x="1319" y="491"/>
                  </a:lnTo>
                  <a:lnTo>
                    <a:pt x="1299" y="506"/>
                  </a:lnTo>
                  <a:lnTo>
                    <a:pt x="1279" y="520"/>
                  </a:lnTo>
                  <a:lnTo>
                    <a:pt x="1257" y="534"/>
                  </a:lnTo>
                  <a:lnTo>
                    <a:pt x="1233" y="547"/>
                  </a:lnTo>
                  <a:lnTo>
                    <a:pt x="1209" y="561"/>
                  </a:lnTo>
                  <a:lnTo>
                    <a:pt x="1183" y="573"/>
                  </a:lnTo>
                  <a:lnTo>
                    <a:pt x="1157" y="584"/>
                  </a:lnTo>
                  <a:lnTo>
                    <a:pt x="1130" y="594"/>
                  </a:lnTo>
                  <a:lnTo>
                    <a:pt x="1103" y="603"/>
                  </a:lnTo>
                  <a:lnTo>
                    <a:pt x="1074" y="609"/>
                  </a:lnTo>
                  <a:lnTo>
                    <a:pt x="1060" y="611"/>
                  </a:lnTo>
                  <a:lnTo>
                    <a:pt x="1045" y="613"/>
                  </a:lnTo>
                  <a:lnTo>
                    <a:pt x="1031" y="613"/>
                  </a:lnTo>
                  <a:lnTo>
                    <a:pt x="1017" y="614"/>
                  </a:lnTo>
                  <a:lnTo>
                    <a:pt x="993" y="613"/>
                  </a:lnTo>
                  <a:lnTo>
                    <a:pt x="970" y="610"/>
                  </a:lnTo>
                  <a:lnTo>
                    <a:pt x="948" y="606"/>
                  </a:lnTo>
                  <a:lnTo>
                    <a:pt x="925" y="601"/>
                  </a:lnTo>
                  <a:lnTo>
                    <a:pt x="904" y="593"/>
                  </a:lnTo>
                  <a:lnTo>
                    <a:pt x="882" y="585"/>
                  </a:lnTo>
                  <a:lnTo>
                    <a:pt x="862" y="576"/>
                  </a:lnTo>
                  <a:lnTo>
                    <a:pt x="842" y="566"/>
                  </a:lnTo>
                  <a:lnTo>
                    <a:pt x="823" y="555"/>
                  </a:lnTo>
                  <a:lnTo>
                    <a:pt x="806" y="542"/>
                  </a:lnTo>
                  <a:lnTo>
                    <a:pt x="788" y="530"/>
                  </a:lnTo>
                  <a:lnTo>
                    <a:pt x="773" y="517"/>
                  </a:lnTo>
                  <a:lnTo>
                    <a:pt x="759" y="503"/>
                  </a:lnTo>
                  <a:lnTo>
                    <a:pt x="746" y="489"/>
                  </a:lnTo>
                  <a:lnTo>
                    <a:pt x="733" y="475"/>
                  </a:lnTo>
                  <a:lnTo>
                    <a:pt x="723" y="461"/>
                  </a:lnTo>
                  <a:lnTo>
                    <a:pt x="720" y="457"/>
                  </a:lnTo>
                  <a:lnTo>
                    <a:pt x="716" y="459"/>
                  </a:lnTo>
                  <a:lnTo>
                    <a:pt x="673" y="477"/>
                  </a:lnTo>
                  <a:lnTo>
                    <a:pt x="632" y="496"/>
                  </a:lnTo>
                  <a:lnTo>
                    <a:pt x="593" y="516"/>
                  </a:lnTo>
                  <a:lnTo>
                    <a:pt x="555" y="535"/>
                  </a:lnTo>
                  <a:lnTo>
                    <a:pt x="517" y="556"/>
                  </a:lnTo>
                  <a:lnTo>
                    <a:pt x="481" y="575"/>
                  </a:lnTo>
                  <a:lnTo>
                    <a:pt x="448" y="594"/>
                  </a:lnTo>
                  <a:lnTo>
                    <a:pt x="414" y="615"/>
                  </a:lnTo>
                  <a:lnTo>
                    <a:pt x="412" y="616"/>
                  </a:lnTo>
                  <a:lnTo>
                    <a:pt x="412" y="619"/>
                  </a:lnTo>
                  <a:lnTo>
                    <a:pt x="408" y="683"/>
                  </a:lnTo>
                  <a:lnTo>
                    <a:pt x="404" y="752"/>
                  </a:lnTo>
                  <a:lnTo>
                    <a:pt x="401" y="787"/>
                  </a:lnTo>
                  <a:lnTo>
                    <a:pt x="397" y="824"/>
                  </a:lnTo>
                  <a:lnTo>
                    <a:pt x="392" y="862"/>
                  </a:lnTo>
                  <a:lnTo>
                    <a:pt x="387" y="900"/>
                  </a:lnTo>
                  <a:lnTo>
                    <a:pt x="381" y="937"/>
                  </a:lnTo>
                  <a:lnTo>
                    <a:pt x="374" y="975"/>
                  </a:lnTo>
                  <a:lnTo>
                    <a:pt x="367" y="1013"/>
                  </a:lnTo>
                  <a:lnTo>
                    <a:pt x="359" y="1051"/>
                  </a:lnTo>
                  <a:lnTo>
                    <a:pt x="350" y="1088"/>
                  </a:lnTo>
                  <a:lnTo>
                    <a:pt x="340" y="1125"/>
                  </a:lnTo>
                  <a:lnTo>
                    <a:pt x="328" y="1161"/>
                  </a:lnTo>
                  <a:lnTo>
                    <a:pt x="316" y="1196"/>
                  </a:lnTo>
                  <a:lnTo>
                    <a:pt x="304" y="1227"/>
                  </a:lnTo>
                  <a:lnTo>
                    <a:pt x="291" y="1257"/>
                  </a:lnTo>
                  <a:lnTo>
                    <a:pt x="276" y="1285"/>
                  </a:lnTo>
                  <a:lnTo>
                    <a:pt x="262" y="1311"/>
                  </a:lnTo>
                  <a:lnTo>
                    <a:pt x="247" y="1334"/>
                  </a:lnTo>
                  <a:lnTo>
                    <a:pt x="231" y="1357"/>
                  </a:lnTo>
                  <a:lnTo>
                    <a:pt x="215" y="1376"/>
                  </a:lnTo>
                  <a:lnTo>
                    <a:pt x="199" y="1394"/>
                  </a:lnTo>
                  <a:lnTo>
                    <a:pt x="180" y="1409"/>
                  </a:lnTo>
                  <a:lnTo>
                    <a:pt x="163" y="1423"/>
                  </a:lnTo>
                  <a:lnTo>
                    <a:pt x="153" y="1429"/>
                  </a:lnTo>
                  <a:lnTo>
                    <a:pt x="144" y="1434"/>
                  </a:lnTo>
                  <a:lnTo>
                    <a:pt x="135" y="1439"/>
                  </a:lnTo>
                  <a:lnTo>
                    <a:pt x="124" y="1444"/>
                  </a:lnTo>
                  <a:lnTo>
                    <a:pt x="114" y="1448"/>
                  </a:lnTo>
                  <a:lnTo>
                    <a:pt x="105" y="1451"/>
                  </a:lnTo>
                  <a:lnTo>
                    <a:pt x="95" y="1454"/>
                  </a:lnTo>
                  <a:lnTo>
                    <a:pt x="85" y="1456"/>
                  </a:lnTo>
                  <a:lnTo>
                    <a:pt x="73" y="1458"/>
                  </a:lnTo>
                  <a:lnTo>
                    <a:pt x="63" y="1459"/>
                  </a:lnTo>
                  <a:lnTo>
                    <a:pt x="52" y="1460"/>
                  </a:lnTo>
                  <a:lnTo>
                    <a:pt x="42" y="1460"/>
                  </a:lnTo>
                  <a:lnTo>
                    <a:pt x="0" y="1423"/>
                  </a:lnTo>
                  <a:lnTo>
                    <a:pt x="22" y="1384"/>
                  </a:lnTo>
                  <a:lnTo>
                    <a:pt x="34" y="1383"/>
                  </a:lnTo>
                  <a:lnTo>
                    <a:pt x="44" y="1381"/>
                  </a:lnTo>
                  <a:lnTo>
                    <a:pt x="55" y="1377"/>
                  </a:lnTo>
                  <a:lnTo>
                    <a:pt x="65" y="1372"/>
                  </a:lnTo>
                  <a:lnTo>
                    <a:pt x="75" y="1366"/>
                  </a:lnTo>
                  <a:lnTo>
                    <a:pt x="86" y="1358"/>
                  </a:lnTo>
                  <a:lnTo>
                    <a:pt x="95" y="1349"/>
                  </a:lnTo>
                  <a:lnTo>
                    <a:pt x="104" y="1337"/>
                  </a:lnTo>
                  <a:lnTo>
                    <a:pt x="113" y="1326"/>
                  </a:lnTo>
                  <a:lnTo>
                    <a:pt x="122" y="1313"/>
                  </a:lnTo>
                  <a:lnTo>
                    <a:pt x="132" y="1298"/>
                  </a:lnTo>
                  <a:lnTo>
                    <a:pt x="140" y="1282"/>
                  </a:lnTo>
                  <a:lnTo>
                    <a:pt x="148" y="1265"/>
                  </a:lnTo>
                  <a:lnTo>
                    <a:pt x="156" y="1248"/>
                  </a:lnTo>
                  <a:lnTo>
                    <a:pt x="163" y="1228"/>
                  </a:lnTo>
                  <a:lnTo>
                    <a:pt x="171" y="1208"/>
                  </a:lnTo>
                  <a:lnTo>
                    <a:pt x="177" y="1186"/>
                  </a:lnTo>
                  <a:lnTo>
                    <a:pt x="185" y="1164"/>
                  </a:lnTo>
                  <a:lnTo>
                    <a:pt x="191" y="1140"/>
                  </a:lnTo>
                  <a:lnTo>
                    <a:pt x="197" y="1115"/>
                  </a:lnTo>
                  <a:lnTo>
                    <a:pt x="203" y="1089"/>
                  </a:lnTo>
                  <a:lnTo>
                    <a:pt x="208" y="1063"/>
                  </a:lnTo>
                  <a:lnTo>
                    <a:pt x="213" y="1035"/>
                  </a:lnTo>
                  <a:lnTo>
                    <a:pt x="217" y="1008"/>
                  </a:lnTo>
                  <a:lnTo>
                    <a:pt x="225" y="949"/>
                  </a:lnTo>
                  <a:lnTo>
                    <a:pt x="231" y="885"/>
                  </a:lnTo>
                  <a:lnTo>
                    <a:pt x="237" y="820"/>
                  </a:lnTo>
                  <a:lnTo>
                    <a:pt x="239" y="752"/>
                  </a:lnTo>
                  <a:lnTo>
                    <a:pt x="240" y="738"/>
                  </a:lnTo>
                  <a:lnTo>
                    <a:pt x="240" y="620"/>
                  </a:lnTo>
                  <a:lnTo>
                    <a:pt x="240" y="617"/>
                  </a:lnTo>
                  <a:lnTo>
                    <a:pt x="239" y="585"/>
                  </a:lnTo>
                  <a:lnTo>
                    <a:pt x="238" y="553"/>
                  </a:lnTo>
                  <a:lnTo>
                    <a:pt x="236" y="519"/>
                  </a:lnTo>
                  <a:lnTo>
                    <a:pt x="235" y="485"/>
                  </a:lnTo>
                  <a:lnTo>
                    <a:pt x="234" y="470"/>
                  </a:lnTo>
                  <a:lnTo>
                    <a:pt x="224" y="481"/>
                  </a:lnTo>
                  <a:lnTo>
                    <a:pt x="210" y="496"/>
                  </a:lnTo>
                  <a:lnTo>
                    <a:pt x="195" y="511"/>
                  </a:lnTo>
                  <a:lnTo>
                    <a:pt x="176" y="525"/>
                  </a:lnTo>
                  <a:lnTo>
                    <a:pt x="157" y="538"/>
                  </a:lnTo>
                  <a:lnTo>
                    <a:pt x="147" y="544"/>
                  </a:lnTo>
                  <a:lnTo>
                    <a:pt x="136" y="549"/>
                  </a:lnTo>
                  <a:lnTo>
                    <a:pt x="125" y="555"/>
                  </a:lnTo>
                  <a:lnTo>
                    <a:pt x="114" y="559"/>
                  </a:lnTo>
                  <a:lnTo>
                    <a:pt x="103" y="562"/>
                  </a:lnTo>
                  <a:lnTo>
                    <a:pt x="92" y="565"/>
                  </a:lnTo>
                  <a:lnTo>
                    <a:pt x="80" y="567"/>
                  </a:lnTo>
                  <a:lnTo>
                    <a:pt x="68" y="568"/>
                  </a:lnTo>
                  <a:lnTo>
                    <a:pt x="27" y="514"/>
                  </a:lnTo>
                  <a:lnTo>
                    <a:pt x="86" y="449"/>
                  </a:lnTo>
                  <a:lnTo>
                    <a:pt x="99" y="448"/>
                  </a:lnTo>
                  <a:lnTo>
                    <a:pt x="113" y="445"/>
                  </a:lnTo>
                  <a:lnTo>
                    <a:pt x="128" y="440"/>
                  </a:lnTo>
                  <a:lnTo>
                    <a:pt x="143" y="433"/>
                  </a:lnTo>
                  <a:lnTo>
                    <a:pt x="158" y="425"/>
                  </a:lnTo>
                  <a:lnTo>
                    <a:pt x="172" y="415"/>
                  </a:lnTo>
                  <a:lnTo>
                    <a:pt x="188" y="402"/>
                  </a:lnTo>
                  <a:lnTo>
                    <a:pt x="202" y="390"/>
                  </a:lnTo>
                  <a:lnTo>
                    <a:pt x="216" y="377"/>
                  </a:lnTo>
                  <a:lnTo>
                    <a:pt x="229" y="363"/>
                  </a:lnTo>
                  <a:lnTo>
                    <a:pt x="242" y="347"/>
                  </a:lnTo>
                  <a:lnTo>
                    <a:pt x="254" y="332"/>
                  </a:lnTo>
                  <a:lnTo>
                    <a:pt x="265" y="316"/>
                  </a:lnTo>
                  <a:lnTo>
                    <a:pt x="274" y="300"/>
                  </a:lnTo>
                  <a:lnTo>
                    <a:pt x="284" y="285"/>
                  </a:lnTo>
                  <a:lnTo>
                    <a:pt x="291" y="269"/>
                  </a:lnTo>
                  <a:lnTo>
                    <a:pt x="294" y="260"/>
                  </a:lnTo>
                  <a:lnTo>
                    <a:pt x="296" y="249"/>
                  </a:lnTo>
                  <a:lnTo>
                    <a:pt x="297" y="240"/>
                  </a:lnTo>
                  <a:lnTo>
                    <a:pt x="297" y="230"/>
                  </a:lnTo>
                  <a:lnTo>
                    <a:pt x="296" y="221"/>
                  </a:lnTo>
                  <a:lnTo>
                    <a:pt x="293" y="212"/>
                  </a:lnTo>
                  <a:lnTo>
                    <a:pt x="290" y="202"/>
                  </a:lnTo>
                  <a:lnTo>
                    <a:pt x="285" y="194"/>
                  </a:lnTo>
                  <a:lnTo>
                    <a:pt x="281" y="189"/>
                  </a:lnTo>
                  <a:lnTo>
                    <a:pt x="277" y="185"/>
                  </a:lnTo>
                  <a:lnTo>
                    <a:pt x="272" y="181"/>
                  </a:lnTo>
                  <a:lnTo>
                    <a:pt x="267" y="178"/>
                  </a:lnTo>
                  <a:lnTo>
                    <a:pt x="263" y="175"/>
                  </a:lnTo>
                  <a:lnTo>
                    <a:pt x="257" y="174"/>
                  </a:lnTo>
                  <a:lnTo>
                    <a:pt x="252" y="172"/>
                  </a:lnTo>
                  <a:lnTo>
                    <a:pt x="247" y="172"/>
                  </a:lnTo>
                  <a:lnTo>
                    <a:pt x="193" y="124"/>
                  </a:lnTo>
                  <a:lnTo>
                    <a:pt x="237" y="72"/>
                  </a:lnTo>
                  <a:lnTo>
                    <a:pt x="250" y="73"/>
                  </a:lnTo>
                  <a:lnTo>
                    <a:pt x="261" y="74"/>
                  </a:lnTo>
                  <a:lnTo>
                    <a:pt x="272" y="77"/>
                  </a:lnTo>
                  <a:lnTo>
                    <a:pt x="282" y="80"/>
                  </a:lnTo>
                  <a:lnTo>
                    <a:pt x="292" y="84"/>
                  </a:lnTo>
                  <a:lnTo>
                    <a:pt x="301" y="89"/>
                  </a:lnTo>
                  <a:lnTo>
                    <a:pt x="308" y="94"/>
                  </a:lnTo>
                  <a:lnTo>
                    <a:pt x="315" y="99"/>
                  </a:lnTo>
                  <a:lnTo>
                    <a:pt x="326" y="109"/>
                  </a:lnTo>
                  <a:lnTo>
                    <a:pt x="335" y="118"/>
                  </a:lnTo>
                  <a:lnTo>
                    <a:pt x="340" y="124"/>
                  </a:lnTo>
                  <a:lnTo>
                    <a:pt x="342" y="127"/>
                  </a:lnTo>
                  <a:lnTo>
                    <a:pt x="345" y="132"/>
                  </a:lnTo>
                  <a:lnTo>
                    <a:pt x="350" y="128"/>
                  </a:lnTo>
                  <a:lnTo>
                    <a:pt x="361" y="120"/>
                  </a:lnTo>
                  <a:lnTo>
                    <a:pt x="372" y="114"/>
                  </a:lnTo>
                  <a:lnTo>
                    <a:pt x="386" y="110"/>
                  </a:lnTo>
                  <a:lnTo>
                    <a:pt x="398" y="108"/>
                  </a:lnTo>
                  <a:lnTo>
                    <a:pt x="412" y="106"/>
                  </a:lnTo>
                  <a:lnTo>
                    <a:pt x="425" y="109"/>
                  </a:lnTo>
                  <a:lnTo>
                    <a:pt x="440" y="112"/>
                  </a:lnTo>
                  <a:lnTo>
                    <a:pt x="454" y="118"/>
                  </a:lnTo>
                  <a:lnTo>
                    <a:pt x="464" y="123"/>
                  </a:lnTo>
                  <a:lnTo>
                    <a:pt x="473" y="127"/>
                  </a:lnTo>
                  <a:lnTo>
                    <a:pt x="481" y="132"/>
                  </a:lnTo>
                  <a:lnTo>
                    <a:pt x="489" y="137"/>
                  </a:lnTo>
                  <a:lnTo>
                    <a:pt x="494" y="141"/>
                  </a:lnTo>
                  <a:lnTo>
                    <a:pt x="498" y="146"/>
                  </a:lnTo>
                  <a:lnTo>
                    <a:pt x="502" y="151"/>
                  </a:lnTo>
                  <a:lnTo>
                    <a:pt x="504" y="157"/>
                  </a:lnTo>
                  <a:lnTo>
                    <a:pt x="505" y="162"/>
                  </a:lnTo>
                  <a:lnTo>
                    <a:pt x="506" y="168"/>
                  </a:lnTo>
                  <a:lnTo>
                    <a:pt x="506" y="174"/>
                  </a:lnTo>
                  <a:lnTo>
                    <a:pt x="505" y="181"/>
                  </a:lnTo>
                  <a:lnTo>
                    <a:pt x="504" y="188"/>
                  </a:lnTo>
                  <a:lnTo>
                    <a:pt x="501" y="196"/>
                  </a:lnTo>
                  <a:lnTo>
                    <a:pt x="498" y="206"/>
                  </a:lnTo>
                  <a:lnTo>
                    <a:pt x="494" y="215"/>
                  </a:lnTo>
                  <a:lnTo>
                    <a:pt x="485" y="233"/>
                  </a:lnTo>
                  <a:lnTo>
                    <a:pt x="476" y="258"/>
                  </a:lnTo>
                  <a:lnTo>
                    <a:pt x="466" y="287"/>
                  </a:lnTo>
                  <a:lnTo>
                    <a:pt x="456" y="322"/>
                  </a:lnTo>
                  <a:lnTo>
                    <a:pt x="445" y="362"/>
                  </a:lnTo>
                  <a:lnTo>
                    <a:pt x="435" y="406"/>
                  </a:lnTo>
                  <a:lnTo>
                    <a:pt x="430" y="429"/>
                  </a:lnTo>
                  <a:lnTo>
                    <a:pt x="426" y="454"/>
                  </a:lnTo>
                  <a:lnTo>
                    <a:pt x="422" y="478"/>
                  </a:lnTo>
                  <a:lnTo>
                    <a:pt x="419" y="504"/>
                  </a:lnTo>
                  <a:lnTo>
                    <a:pt x="418" y="515"/>
                  </a:lnTo>
                  <a:lnTo>
                    <a:pt x="427" y="510"/>
                  </a:lnTo>
                  <a:lnTo>
                    <a:pt x="464" y="490"/>
                  </a:lnTo>
                  <a:lnTo>
                    <a:pt x="501" y="472"/>
                  </a:lnTo>
                  <a:lnTo>
                    <a:pt x="536" y="455"/>
                  </a:lnTo>
                  <a:lnTo>
                    <a:pt x="571" y="438"/>
                  </a:lnTo>
                  <a:lnTo>
                    <a:pt x="604" y="423"/>
                  </a:lnTo>
                  <a:lnTo>
                    <a:pt x="635" y="410"/>
                  </a:lnTo>
                  <a:lnTo>
                    <a:pt x="664" y="396"/>
                  </a:lnTo>
                  <a:lnTo>
                    <a:pt x="690" y="385"/>
                  </a:lnTo>
                  <a:lnTo>
                    <a:pt x="694" y="383"/>
                  </a:lnTo>
                  <a:lnTo>
                    <a:pt x="694" y="380"/>
                  </a:lnTo>
                  <a:lnTo>
                    <a:pt x="695" y="358"/>
                  </a:lnTo>
                  <a:lnTo>
                    <a:pt x="697" y="335"/>
                  </a:lnTo>
                  <a:lnTo>
                    <a:pt x="701" y="315"/>
                  </a:lnTo>
                  <a:lnTo>
                    <a:pt x="706" y="294"/>
                  </a:lnTo>
                  <a:lnTo>
                    <a:pt x="712" y="274"/>
                  </a:lnTo>
                  <a:lnTo>
                    <a:pt x="720" y="256"/>
                  </a:lnTo>
                  <a:lnTo>
                    <a:pt x="728" y="236"/>
                  </a:lnTo>
                  <a:lnTo>
                    <a:pt x="737" y="219"/>
                  </a:lnTo>
                  <a:lnTo>
                    <a:pt x="749" y="201"/>
                  </a:lnTo>
                  <a:lnTo>
                    <a:pt x="760" y="185"/>
                  </a:lnTo>
                  <a:lnTo>
                    <a:pt x="772" y="169"/>
                  </a:lnTo>
                  <a:lnTo>
                    <a:pt x="784" y="153"/>
                  </a:lnTo>
                  <a:lnTo>
                    <a:pt x="798" y="139"/>
                  </a:lnTo>
                  <a:lnTo>
                    <a:pt x="812" y="126"/>
                  </a:lnTo>
                  <a:lnTo>
                    <a:pt x="826" y="113"/>
                  </a:lnTo>
                  <a:lnTo>
                    <a:pt x="840" y="99"/>
                  </a:lnTo>
                  <a:lnTo>
                    <a:pt x="855" y="88"/>
                  </a:lnTo>
                  <a:lnTo>
                    <a:pt x="870" y="77"/>
                  </a:lnTo>
                  <a:lnTo>
                    <a:pt x="884" y="67"/>
                  </a:lnTo>
                  <a:lnTo>
                    <a:pt x="900" y="58"/>
                  </a:lnTo>
                  <a:lnTo>
                    <a:pt x="928" y="40"/>
                  </a:lnTo>
                  <a:lnTo>
                    <a:pt x="957" y="26"/>
                  </a:lnTo>
                  <a:lnTo>
                    <a:pt x="982" y="15"/>
                  </a:lnTo>
                  <a:lnTo>
                    <a:pt x="1006" y="7"/>
                  </a:lnTo>
                  <a:lnTo>
                    <a:pt x="1017" y="4"/>
                  </a:lnTo>
                  <a:lnTo>
                    <a:pt x="1026" y="2"/>
                  </a:lnTo>
                  <a:lnTo>
                    <a:pt x="1035" y="1"/>
                  </a:lnTo>
                  <a:lnTo>
                    <a:pt x="1042" y="0"/>
                  </a:lnTo>
                  <a:lnTo>
                    <a:pt x="1091" y="53"/>
                  </a:lnTo>
                  <a:lnTo>
                    <a:pt x="1042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3" name="Freeform 50"/>
            <p:cNvSpPr>
              <a:spLocks/>
            </p:cNvSpPr>
            <p:nvPr userDrawn="1"/>
          </p:nvSpPr>
          <p:spPr bwMode="auto">
            <a:xfrm>
              <a:off x="7147" y="571"/>
              <a:ext cx="17" cy="15"/>
            </a:xfrm>
            <a:custGeom>
              <a:avLst/>
              <a:gdLst>
                <a:gd name="T0" fmla="*/ 44 w 202"/>
                <a:gd name="T1" fmla="*/ 0 h 178"/>
                <a:gd name="T2" fmla="*/ 32 w 202"/>
                <a:gd name="T3" fmla="*/ 1 h 178"/>
                <a:gd name="T4" fmla="*/ 21 w 202"/>
                <a:gd name="T5" fmla="*/ 3 h 178"/>
                <a:gd name="T6" fmla="*/ 17 w 202"/>
                <a:gd name="T7" fmla="*/ 5 h 178"/>
                <a:gd name="T8" fmla="*/ 13 w 202"/>
                <a:gd name="T9" fmla="*/ 7 h 178"/>
                <a:gd name="T10" fmla="*/ 10 w 202"/>
                <a:gd name="T11" fmla="*/ 9 h 178"/>
                <a:gd name="T12" fmla="*/ 8 w 202"/>
                <a:gd name="T13" fmla="*/ 12 h 178"/>
                <a:gd name="T14" fmla="*/ 4 w 202"/>
                <a:gd name="T15" fmla="*/ 19 h 178"/>
                <a:gd name="T16" fmla="*/ 1 w 202"/>
                <a:gd name="T17" fmla="*/ 25 h 178"/>
                <a:gd name="T18" fmla="*/ 0 w 202"/>
                <a:gd name="T19" fmla="*/ 32 h 178"/>
                <a:gd name="T20" fmla="*/ 1 w 202"/>
                <a:gd name="T21" fmla="*/ 38 h 178"/>
                <a:gd name="T22" fmla="*/ 2 w 202"/>
                <a:gd name="T23" fmla="*/ 45 h 178"/>
                <a:gd name="T24" fmla="*/ 5 w 202"/>
                <a:gd name="T25" fmla="*/ 51 h 178"/>
                <a:gd name="T26" fmla="*/ 7 w 202"/>
                <a:gd name="T27" fmla="*/ 57 h 178"/>
                <a:gd name="T28" fmla="*/ 10 w 202"/>
                <a:gd name="T29" fmla="*/ 63 h 178"/>
                <a:gd name="T30" fmla="*/ 15 w 202"/>
                <a:gd name="T31" fmla="*/ 74 h 178"/>
                <a:gd name="T32" fmla="*/ 22 w 202"/>
                <a:gd name="T33" fmla="*/ 84 h 178"/>
                <a:gd name="T34" fmla="*/ 30 w 202"/>
                <a:gd name="T35" fmla="*/ 95 h 178"/>
                <a:gd name="T36" fmla="*/ 38 w 202"/>
                <a:gd name="T37" fmla="*/ 104 h 178"/>
                <a:gd name="T38" fmla="*/ 48 w 202"/>
                <a:gd name="T39" fmla="*/ 114 h 178"/>
                <a:gd name="T40" fmla="*/ 59 w 202"/>
                <a:gd name="T41" fmla="*/ 124 h 178"/>
                <a:gd name="T42" fmla="*/ 69 w 202"/>
                <a:gd name="T43" fmla="*/ 133 h 178"/>
                <a:gd name="T44" fmla="*/ 80 w 202"/>
                <a:gd name="T45" fmla="*/ 141 h 178"/>
                <a:gd name="T46" fmla="*/ 91 w 202"/>
                <a:gd name="T47" fmla="*/ 149 h 178"/>
                <a:gd name="T48" fmla="*/ 102 w 202"/>
                <a:gd name="T49" fmla="*/ 156 h 178"/>
                <a:gd name="T50" fmla="*/ 114 w 202"/>
                <a:gd name="T51" fmla="*/ 162 h 178"/>
                <a:gd name="T52" fmla="*/ 125 w 202"/>
                <a:gd name="T53" fmla="*/ 168 h 178"/>
                <a:gd name="T54" fmla="*/ 136 w 202"/>
                <a:gd name="T55" fmla="*/ 172 h 178"/>
                <a:gd name="T56" fmla="*/ 146 w 202"/>
                <a:gd name="T57" fmla="*/ 175 h 178"/>
                <a:gd name="T58" fmla="*/ 157 w 202"/>
                <a:gd name="T59" fmla="*/ 177 h 178"/>
                <a:gd name="T60" fmla="*/ 166 w 202"/>
                <a:gd name="T61" fmla="*/ 178 h 178"/>
                <a:gd name="T62" fmla="*/ 171 w 202"/>
                <a:gd name="T63" fmla="*/ 178 h 178"/>
                <a:gd name="T64" fmla="*/ 176 w 202"/>
                <a:gd name="T65" fmla="*/ 177 h 178"/>
                <a:gd name="T66" fmla="*/ 181 w 202"/>
                <a:gd name="T67" fmla="*/ 176 h 178"/>
                <a:gd name="T68" fmla="*/ 185 w 202"/>
                <a:gd name="T69" fmla="*/ 174 h 178"/>
                <a:gd name="T70" fmla="*/ 188 w 202"/>
                <a:gd name="T71" fmla="*/ 172 h 178"/>
                <a:gd name="T72" fmla="*/ 192 w 202"/>
                <a:gd name="T73" fmla="*/ 170 h 178"/>
                <a:gd name="T74" fmla="*/ 195 w 202"/>
                <a:gd name="T75" fmla="*/ 167 h 178"/>
                <a:gd name="T76" fmla="*/ 197 w 202"/>
                <a:gd name="T77" fmla="*/ 163 h 178"/>
                <a:gd name="T78" fmla="*/ 200 w 202"/>
                <a:gd name="T79" fmla="*/ 158 h 178"/>
                <a:gd name="T80" fmla="*/ 201 w 202"/>
                <a:gd name="T81" fmla="*/ 153 h 178"/>
                <a:gd name="T82" fmla="*/ 202 w 202"/>
                <a:gd name="T83" fmla="*/ 147 h 178"/>
                <a:gd name="T84" fmla="*/ 202 w 202"/>
                <a:gd name="T85" fmla="*/ 141 h 178"/>
                <a:gd name="T86" fmla="*/ 202 w 202"/>
                <a:gd name="T87" fmla="*/ 134 h 178"/>
                <a:gd name="T88" fmla="*/ 201 w 202"/>
                <a:gd name="T89" fmla="*/ 126 h 178"/>
                <a:gd name="T90" fmla="*/ 199 w 202"/>
                <a:gd name="T91" fmla="*/ 118 h 178"/>
                <a:gd name="T92" fmla="*/ 196 w 202"/>
                <a:gd name="T93" fmla="*/ 109 h 178"/>
                <a:gd name="T94" fmla="*/ 193 w 202"/>
                <a:gd name="T95" fmla="*/ 100 h 178"/>
                <a:gd name="T96" fmla="*/ 189 w 202"/>
                <a:gd name="T97" fmla="*/ 91 h 178"/>
                <a:gd name="T98" fmla="*/ 185 w 202"/>
                <a:gd name="T99" fmla="*/ 83 h 178"/>
                <a:gd name="T100" fmla="*/ 179 w 202"/>
                <a:gd name="T101" fmla="*/ 75 h 178"/>
                <a:gd name="T102" fmla="*/ 173 w 202"/>
                <a:gd name="T103" fmla="*/ 65 h 178"/>
                <a:gd name="T104" fmla="*/ 167 w 202"/>
                <a:gd name="T105" fmla="*/ 57 h 178"/>
                <a:gd name="T106" fmla="*/ 160 w 202"/>
                <a:gd name="T107" fmla="*/ 50 h 178"/>
                <a:gd name="T108" fmla="*/ 151 w 202"/>
                <a:gd name="T109" fmla="*/ 43 h 178"/>
                <a:gd name="T110" fmla="*/ 138 w 202"/>
                <a:gd name="T111" fmla="*/ 34 h 178"/>
                <a:gd name="T112" fmla="*/ 125 w 202"/>
                <a:gd name="T113" fmla="*/ 25 h 178"/>
                <a:gd name="T114" fmla="*/ 111 w 202"/>
                <a:gd name="T115" fmla="*/ 18 h 178"/>
                <a:gd name="T116" fmla="*/ 97 w 202"/>
                <a:gd name="T117" fmla="*/ 11 h 178"/>
                <a:gd name="T118" fmla="*/ 83 w 202"/>
                <a:gd name="T119" fmla="*/ 6 h 178"/>
                <a:gd name="T120" fmla="*/ 70 w 202"/>
                <a:gd name="T121" fmla="*/ 3 h 178"/>
                <a:gd name="T122" fmla="*/ 57 w 202"/>
                <a:gd name="T123" fmla="*/ 1 h 178"/>
                <a:gd name="T124" fmla="*/ 44 w 202"/>
                <a:gd name="T125" fmla="*/ 0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02" h="178">
                  <a:moveTo>
                    <a:pt x="44" y="0"/>
                  </a:moveTo>
                  <a:lnTo>
                    <a:pt x="32" y="1"/>
                  </a:lnTo>
                  <a:lnTo>
                    <a:pt x="21" y="3"/>
                  </a:lnTo>
                  <a:lnTo>
                    <a:pt x="17" y="5"/>
                  </a:lnTo>
                  <a:lnTo>
                    <a:pt x="13" y="7"/>
                  </a:lnTo>
                  <a:lnTo>
                    <a:pt x="10" y="9"/>
                  </a:lnTo>
                  <a:lnTo>
                    <a:pt x="8" y="12"/>
                  </a:lnTo>
                  <a:lnTo>
                    <a:pt x="4" y="19"/>
                  </a:lnTo>
                  <a:lnTo>
                    <a:pt x="1" y="25"/>
                  </a:lnTo>
                  <a:lnTo>
                    <a:pt x="0" y="32"/>
                  </a:lnTo>
                  <a:lnTo>
                    <a:pt x="1" y="38"/>
                  </a:lnTo>
                  <a:lnTo>
                    <a:pt x="2" y="45"/>
                  </a:lnTo>
                  <a:lnTo>
                    <a:pt x="5" y="51"/>
                  </a:lnTo>
                  <a:lnTo>
                    <a:pt x="7" y="57"/>
                  </a:lnTo>
                  <a:lnTo>
                    <a:pt x="10" y="63"/>
                  </a:lnTo>
                  <a:lnTo>
                    <a:pt x="15" y="74"/>
                  </a:lnTo>
                  <a:lnTo>
                    <a:pt x="22" y="84"/>
                  </a:lnTo>
                  <a:lnTo>
                    <a:pt x="30" y="95"/>
                  </a:lnTo>
                  <a:lnTo>
                    <a:pt x="38" y="104"/>
                  </a:lnTo>
                  <a:lnTo>
                    <a:pt x="48" y="114"/>
                  </a:lnTo>
                  <a:lnTo>
                    <a:pt x="59" y="124"/>
                  </a:lnTo>
                  <a:lnTo>
                    <a:pt x="69" y="133"/>
                  </a:lnTo>
                  <a:lnTo>
                    <a:pt x="80" y="141"/>
                  </a:lnTo>
                  <a:lnTo>
                    <a:pt x="91" y="149"/>
                  </a:lnTo>
                  <a:lnTo>
                    <a:pt x="102" y="156"/>
                  </a:lnTo>
                  <a:lnTo>
                    <a:pt x="114" y="162"/>
                  </a:lnTo>
                  <a:lnTo>
                    <a:pt x="125" y="168"/>
                  </a:lnTo>
                  <a:lnTo>
                    <a:pt x="136" y="172"/>
                  </a:lnTo>
                  <a:lnTo>
                    <a:pt x="146" y="175"/>
                  </a:lnTo>
                  <a:lnTo>
                    <a:pt x="157" y="177"/>
                  </a:lnTo>
                  <a:lnTo>
                    <a:pt x="166" y="178"/>
                  </a:lnTo>
                  <a:lnTo>
                    <a:pt x="171" y="178"/>
                  </a:lnTo>
                  <a:lnTo>
                    <a:pt x="176" y="177"/>
                  </a:lnTo>
                  <a:lnTo>
                    <a:pt x="181" y="176"/>
                  </a:lnTo>
                  <a:lnTo>
                    <a:pt x="185" y="174"/>
                  </a:lnTo>
                  <a:lnTo>
                    <a:pt x="188" y="172"/>
                  </a:lnTo>
                  <a:lnTo>
                    <a:pt x="192" y="170"/>
                  </a:lnTo>
                  <a:lnTo>
                    <a:pt x="195" y="167"/>
                  </a:lnTo>
                  <a:lnTo>
                    <a:pt x="197" y="163"/>
                  </a:lnTo>
                  <a:lnTo>
                    <a:pt x="200" y="158"/>
                  </a:lnTo>
                  <a:lnTo>
                    <a:pt x="201" y="153"/>
                  </a:lnTo>
                  <a:lnTo>
                    <a:pt x="202" y="147"/>
                  </a:lnTo>
                  <a:lnTo>
                    <a:pt x="202" y="141"/>
                  </a:lnTo>
                  <a:lnTo>
                    <a:pt x="202" y="134"/>
                  </a:lnTo>
                  <a:lnTo>
                    <a:pt x="201" y="126"/>
                  </a:lnTo>
                  <a:lnTo>
                    <a:pt x="199" y="118"/>
                  </a:lnTo>
                  <a:lnTo>
                    <a:pt x="196" y="109"/>
                  </a:lnTo>
                  <a:lnTo>
                    <a:pt x="193" y="100"/>
                  </a:lnTo>
                  <a:lnTo>
                    <a:pt x="189" y="91"/>
                  </a:lnTo>
                  <a:lnTo>
                    <a:pt x="185" y="83"/>
                  </a:lnTo>
                  <a:lnTo>
                    <a:pt x="179" y="75"/>
                  </a:lnTo>
                  <a:lnTo>
                    <a:pt x="173" y="65"/>
                  </a:lnTo>
                  <a:lnTo>
                    <a:pt x="167" y="57"/>
                  </a:lnTo>
                  <a:lnTo>
                    <a:pt x="160" y="50"/>
                  </a:lnTo>
                  <a:lnTo>
                    <a:pt x="151" y="43"/>
                  </a:lnTo>
                  <a:lnTo>
                    <a:pt x="138" y="34"/>
                  </a:lnTo>
                  <a:lnTo>
                    <a:pt x="125" y="25"/>
                  </a:lnTo>
                  <a:lnTo>
                    <a:pt x="111" y="18"/>
                  </a:lnTo>
                  <a:lnTo>
                    <a:pt x="97" y="11"/>
                  </a:lnTo>
                  <a:lnTo>
                    <a:pt x="83" y="6"/>
                  </a:lnTo>
                  <a:lnTo>
                    <a:pt x="70" y="3"/>
                  </a:lnTo>
                  <a:lnTo>
                    <a:pt x="57" y="1"/>
                  </a:lnTo>
                  <a:lnTo>
                    <a:pt x="44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4" name="Freeform 51"/>
            <p:cNvSpPr>
              <a:spLocks/>
            </p:cNvSpPr>
            <p:nvPr userDrawn="1"/>
          </p:nvSpPr>
          <p:spPr bwMode="auto">
            <a:xfrm>
              <a:off x="6747" y="571"/>
              <a:ext cx="17" cy="13"/>
            </a:xfrm>
            <a:custGeom>
              <a:avLst/>
              <a:gdLst>
                <a:gd name="T0" fmla="*/ 39 w 203"/>
                <a:gd name="T1" fmla="*/ 0 h 161"/>
                <a:gd name="T2" fmla="*/ 31 w 203"/>
                <a:gd name="T3" fmla="*/ 1 h 161"/>
                <a:gd name="T4" fmla="*/ 23 w 203"/>
                <a:gd name="T5" fmla="*/ 3 h 161"/>
                <a:gd name="T6" fmla="*/ 17 w 203"/>
                <a:gd name="T7" fmla="*/ 7 h 161"/>
                <a:gd name="T8" fmla="*/ 11 w 203"/>
                <a:gd name="T9" fmla="*/ 12 h 161"/>
                <a:gd name="T10" fmla="*/ 6 w 203"/>
                <a:gd name="T11" fmla="*/ 18 h 161"/>
                <a:gd name="T12" fmla="*/ 3 w 203"/>
                <a:gd name="T13" fmla="*/ 26 h 161"/>
                <a:gd name="T14" fmla="*/ 1 w 203"/>
                <a:gd name="T15" fmla="*/ 32 h 161"/>
                <a:gd name="T16" fmla="*/ 0 w 203"/>
                <a:gd name="T17" fmla="*/ 39 h 161"/>
                <a:gd name="T18" fmla="*/ 1 w 203"/>
                <a:gd name="T19" fmla="*/ 46 h 161"/>
                <a:gd name="T20" fmla="*/ 2 w 203"/>
                <a:gd name="T21" fmla="*/ 53 h 161"/>
                <a:gd name="T22" fmla="*/ 4 w 203"/>
                <a:gd name="T23" fmla="*/ 60 h 161"/>
                <a:gd name="T24" fmla="*/ 8 w 203"/>
                <a:gd name="T25" fmla="*/ 68 h 161"/>
                <a:gd name="T26" fmla="*/ 13 w 203"/>
                <a:gd name="T27" fmla="*/ 78 h 161"/>
                <a:gd name="T28" fmla="*/ 19 w 203"/>
                <a:gd name="T29" fmla="*/ 86 h 161"/>
                <a:gd name="T30" fmla="*/ 26 w 203"/>
                <a:gd name="T31" fmla="*/ 94 h 161"/>
                <a:gd name="T32" fmla="*/ 34 w 203"/>
                <a:gd name="T33" fmla="*/ 103 h 161"/>
                <a:gd name="T34" fmla="*/ 42 w 203"/>
                <a:gd name="T35" fmla="*/ 111 h 161"/>
                <a:gd name="T36" fmla="*/ 52 w 203"/>
                <a:gd name="T37" fmla="*/ 118 h 161"/>
                <a:gd name="T38" fmla="*/ 62 w 203"/>
                <a:gd name="T39" fmla="*/ 126 h 161"/>
                <a:gd name="T40" fmla="*/ 73 w 203"/>
                <a:gd name="T41" fmla="*/ 133 h 161"/>
                <a:gd name="T42" fmla="*/ 83 w 203"/>
                <a:gd name="T43" fmla="*/ 139 h 161"/>
                <a:gd name="T44" fmla="*/ 94 w 203"/>
                <a:gd name="T45" fmla="*/ 144 h 161"/>
                <a:gd name="T46" fmla="*/ 105 w 203"/>
                <a:gd name="T47" fmla="*/ 149 h 161"/>
                <a:gd name="T48" fmla="*/ 117 w 203"/>
                <a:gd name="T49" fmla="*/ 153 h 161"/>
                <a:gd name="T50" fmla="*/ 128 w 203"/>
                <a:gd name="T51" fmla="*/ 157 h 161"/>
                <a:gd name="T52" fmla="*/ 139 w 203"/>
                <a:gd name="T53" fmla="*/ 159 h 161"/>
                <a:gd name="T54" fmla="*/ 149 w 203"/>
                <a:gd name="T55" fmla="*/ 161 h 161"/>
                <a:gd name="T56" fmla="*/ 159 w 203"/>
                <a:gd name="T57" fmla="*/ 161 h 161"/>
                <a:gd name="T58" fmla="*/ 167 w 203"/>
                <a:gd name="T59" fmla="*/ 161 h 161"/>
                <a:gd name="T60" fmla="*/ 173 w 203"/>
                <a:gd name="T61" fmla="*/ 160 h 161"/>
                <a:gd name="T62" fmla="*/ 179 w 203"/>
                <a:gd name="T63" fmla="*/ 159 h 161"/>
                <a:gd name="T64" fmla="*/ 184 w 203"/>
                <a:gd name="T65" fmla="*/ 157 h 161"/>
                <a:gd name="T66" fmla="*/ 189 w 203"/>
                <a:gd name="T67" fmla="*/ 155 h 161"/>
                <a:gd name="T68" fmla="*/ 193 w 203"/>
                <a:gd name="T69" fmla="*/ 152 h 161"/>
                <a:gd name="T70" fmla="*/ 197 w 203"/>
                <a:gd name="T71" fmla="*/ 149 h 161"/>
                <a:gd name="T72" fmla="*/ 201 w 203"/>
                <a:gd name="T73" fmla="*/ 145 h 161"/>
                <a:gd name="T74" fmla="*/ 202 w 203"/>
                <a:gd name="T75" fmla="*/ 142 h 161"/>
                <a:gd name="T76" fmla="*/ 203 w 203"/>
                <a:gd name="T77" fmla="*/ 139 h 161"/>
                <a:gd name="T78" fmla="*/ 203 w 203"/>
                <a:gd name="T79" fmla="*/ 135 h 161"/>
                <a:gd name="T80" fmla="*/ 203 w 203"/>
                <a:gd name="T81" fmla="*/ 131 h 161"/>
                <a:gd name="T82" fmla="*/ 201 w 203"/>
                <a:gd name="T83" fmla="*/ 124 h 161"/>
                <a:gd name="T84" fmla="*/ 198 w 203"/>
                <a:gd name="T85" fmla="*/ 117 h 161"/>
                <a:gd name="T86" fmla="*/ 193 w 203"/>
                <a:gd name="T87" fmla="*/ 107 h 161"/>
                <a:gd name="T88" fmla="*/ 187 w 203"/>
                <a:gd name="T89" fmla="*/ 98 h 161"/>
                <a:gd name="T90" fmla="*/ 179 w 203"/>
                <a:gd name="T91" fmla="*/ 88 h 161"/>
                <a:gd name="T92" fmla="*/ 171 w 203"/>
                <a:gd name="T93" fmla="*/ 78 h 161"/>
                <a:gd name="T94" fmla="*/ 162 w 203"/>
                <a:gd name="T95" fmla="*/ 68 h 161"/>
                <a:gd name="T96" fmla="*/ 151 w 203"/>
                <a:gd name="T97" fmla="*/ 58 h 161"/>
                <a:gd name="T98" fmla="*/ 140 w 203"/>
                <a:gd name="T99" fmla="*/ 49 h 161"/>
                <a:gd name="T100" fmla="*/ 129 w 203"/>
                <a:gd name="T101" fmla="*/ 40 h 161"/>
                <a:gd name="T102" fmla="*/ 118 w 203"/>
                <a:gd name="T103" fmla="*/ 32 h 161"/>
                <a:gd name="T104" fmla="*/ 105 w 203"/>
                <a:gd name="T105" fmla="*/ 24 h 161"/>
                <a:gd name="T106" fmla="*/ 94 w 203"/>
                <a:gd name="T107" fmla="*/ 17 h 161"/>
                <a:gd name="T108" fmla="*/ 82 w 203"/>
                <a:gd name="T109" fmla="*/ 11 h 161"/>
                <a:gd name="T110" fmla="*/ 71 w 203"/>
                <a:gd name="T111" fmla="*/ 6 h 161"/>
                <a:gd name="T112" fmla="*/ 60 w 203"/>
                <a:gd name="T113" fmla="*/ 3 h 161"/>
                <a:gd name="T114" fmla="*/ 49 w 203"/>
                <a:gd name="T115" fmla="*/ 1 h 161"/>
                <a:gd name="T116" fmla="*/ 39 w 203"/>
                <a:gd name="T117" fmla="*/ 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03" h="161">
                  <a:moveTo>
                    <a:pt x="39" y="0"/>
                  </a:moveTo>
                  <a:lnTo>
                    <a:pt x="31" y="1"/>
                  </a:lnTo>
                  <a:lnTo>
                    <a:pt x="23" y="3"/>
                  </a:lnTo>
                  <a:lnTo>
                    <a:pt x="17" y="7"/>
                  </a:lnTo>
                  <a:lnTo>
                    <a:pt x="11" y="12"/>
                  </a:lnTo>
                  <a:lnTo>
                    <a:pt x="6" y="18"/>
                  </a:lnTo>
                  <a:lnTo>
                    <a:pt x="3" y="26"/>
                  </a:lnTo>
                  <a:lnTo>
                    <a:pt x="1" y="32"/>
                  </a:lnTo>
                  <a:lnTo>
                    <a:pt x="0" y="39"/>
                  </a:lnTo>
                  <a:lnTo>
                    <a:pt x="1" y="46"/>
                  </a:lnTo>
                  <a:lnTo>
                    <a:pt x="2" y="53"/>
                  </a:lnTo>
                  <a:lnTo>
                    <a:pt x="4" y="60"/>
                  </a:lnTo>
                  <a:lnTo>
                    <a:pt x="8" y="68"/>
                  </a:lnTo>
                  <a:lnTo>
                    <a:pt x="13" y="78"/>
                  </a:lnTo>
                  <a:lnTo>
                    <a:pt x="19" y="86"/>
                  </a:lnTo>
                  <a:lnTo>
                    <a:pt x="26" y="94"/>
                  </a:lnTo>
                  <a:lnTo>
                    <a:pt x="34" y="103"/>
                  </a:lnTo>
                  <a:lnTo>
                    <a:pt x="42" y="111"/>
                  </a:lnTo>
                  <a:lnTo>
                    <a:pt x="52" y="118"/>
                  </a:lnTo>
                  <a:lnTo>
                    <a:pt x="62" y="126"/>
                  </a:lnTo>
                  <a:lnTo>
                    <a:pt x="73" y="133"/>
                  </a:lnTo>
                  <a:lnTo>
                    <a:pt x="83" y="139"/>
                  </a:lnTo>
                  <a:lnTo>
                    <a:pt x="94" y="144"/>
                  </a:lnTo>
                  <a:lnTo>
                    <a:pt x="105" y="149"/>
                  </a:lnTo>
                  <a:lnTo>
                    <a:pt x="117" y="153"/>
                  </a:lnTo>
                  <a:lnTo>
                    <a:pt x="128" y="157"/>
                  </a:lnTo>
                  <a:lnTo>
                    <a:pt x="139" y="159"/>
                  </a:lnTo>
                  <a:lnTo>
                    <a:pt x="149" y="161"/>
                  </a:lnTo>
                  <a:lnTo>
                    <a:pt x="159" y="161"/>
                  </a:lnTo>
                  <a:lnTo>
                    <a:pt x="167" y="161"/>
                  </a:lnTo>
                  <a:lnTo>
                    <a:pt x="173" y="160"/>
                  </a:lnTo>
                  <a:lnTo>
                    <a:pt x="179" y="159"/>
                  </a:lnTo>
                  <a:lnTo>
                    <a:pt x="184" y="157"/>
                  </a:lnTo>
                  <a:lnTo>
                    <a:pt x="189" y="155"/>
                  </a:lnTo>
                  <a:lnTo>
                    <a:pt x="193" y="152"/>
                  </a:lnTo>
                  <a:lnTo>
                    <a:pt x="197" y="149"/>
                  </a:lnTo>
                  <a:lnTo>
                    <a:pt x="201" y="145"/>
                  </a:lnTo>
                  <a:lnTo>
                    <a:pt x="202" y="142"/>
                  </a:lnTo>
                  <a:lnTo>
                    <a:pt x="203" y="139"/>
                  </a:lnTo>
                  <a:lnTo>
                    <a:pt x="203" y="135"/>
                  </a:lnTo>
                  <a:lnTo>
                    <a:pt x="203" y="131"/>
                  </a:lnTo>
                  <a:lnTo>
                    <a:pt x="201" y="124"/>
                  </a:lnTo>
                  <a:lnTo>
                    <a:pt x="198" y="117"/>
                  </a:lnTo>
                  <a:lnTo>
                    <a:pt x="193" y="107"/>
                  </a:lnTo>
                  <a:lnTo>
                    <a:pt x="187" y="98"/>
                  </a:lnTo>
                  <a:lnTo>
                    <a:pt x="179" y="88"/>
                  </a:lnTo>
                  <a:lnTo>
                    <a:pt x="171" y="78"/>
                  </a:lnTo>
                  <a:lnTo>
                    <a:pt x="162" y="68"/>
                  </a:lnTo>
                  <a:lnTo>
                    <a:pt x="151" y="58"/>
                  </a:lnTo>
                  <a:lnTo>
                    <a:pt x="140" y="49"/>
                  </a:lnTo>
                  <a:lnTo>
                    <a:pt x="129" y="40"/>
                  </a:lnTo>
                  <a:lnTo>
                    <a:pt x="118" y="32"/>
                  </a:lnTo>
                  <a:lnTo>
                    <a:pt x="105" y="24"/>
                  </a:lnTo>
                  <a:lnTo>
                    <a:pt x="94" y="17"/>
                  </a:lnTo>
                  <a:lnTo>
                    <a:pt x="82" y="11"/>
                  </a:lnTo>
                  <a:lnTo>
                    <a:pt x="71" y="6"/>
                  </a:lnTo>
                  <a:lnTo>
                    <a:pt x="60" y="3"/>
                  </a:lnTo>
                  <a:lnTo>
                    <a:pt x="49" y="1"/>
                  </a:lnTo>
                  <a:lnTo>
                    <a:pt x="39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5" name="Freeform 52"/>
            <p:cNvSpPr>
              <a:spLocks/>
            </p:cNvSpPr>
            <p:nvPr userDrawn="1"/>
          </p:nvSpPr>
          <p:spPr bwMode="auto">
            <a:xfrm>
              <a:off x="6162" y="347"/>
              <a:ext cx="109" cy="148"/>
            </a:xfrm>
            <a:custGeom>
              <a:avLst/>
              <a:gdLst>
                <a:gd name="T0" fmla="*/ 139 w 1310"/>
                <a:gd name="T1" fmla="*/ 1401 h 1770"/>
                <a:gd name="T2" fmla="*/ 306 w 1310"/>
                <a:gd name="T3" fmla="*/ 1438 h 1770"/>
                <a:gd name="T4" fmla="*/ 458 w 1310"/>
                <a:gd name="T5" fmla="*/ 1457 h 1770"/>
                <a:gd name="T6" fmla="*/ 615 w 1310"/>
                <a:gd name="T7" fmla="*/ 1458 h 1770"/>
                <a:gd name="T8" fmla="*/ 741 w 1310"/>
                <a:gd name="T9" fmla="*/ 1434 h 1770"/>
                <a:gd name="T10" fmla="*/ 790 w 1310"/>
                <a:gd name="T11" fmla="*/ 1409 h 1770"/>
                <a:gd name="T12" fmla="*/ 825 w 1310"/>
                <a:gd name="T13" fmla="*/ 1378 h 1770"/>
                <a:gd name="T14" fmla="*/ 844 w 1310"/>
                <a:gd name="T15" fmla="*/ 1337 h 1770"/>
                <a:gd name="T16" fmla="*/ 848 w 1310"/>
                <a:gd name="T17" fmla="*/ 1285 h 1770"/>
                <a:gd name="T18" fmla="*/ 824 w 1310"/>
                <a:gd name="T19" fmla="*/ 1220 h 1770"/>
                <a:gd name="T20" fmla="*/ 749 w 1310"/>
                <a:gd name="T21" fmla="*/ 1161 h 1770"/>
                <a:gd name="T22" fmla="*/ 571 w 1310"/>
                <a:gd name="T23" fmla="*/ 1078 h 1770"/>
                <a:gd name="T24" fmla="*/ 321 w 1310"/>
                <a:gd name="T25" fmla="*/ 964 h 1770"/>
                <a:gd name="T26" fmla="*/ 198 w 1310"/>
                <a:gd name="T27" fmla="*/ 893 h 1770"/>
                <a:gd name="T28" fmla="*/ 116 w 1310"/>
                <a:gd name="T29" fmla="*/ 826 h 1770"/>
                <a:gd name="T30" fmla="*/ 52 w 1310"/>
                <a:gd name="T31" fmla="*/ 736 h 1770"/>
                <a:gd name="T32" fmla="*/ 13 w 1310"/>
                <a:gd name="T33" fmla="*/ 633 h 1770"/>
                <a:gd name="T34" fmla="*/ 0 w 1310"/>
                <a:gd name="T35" fmla="*/ 516 h 1770"/>
                <a:gd name="T36" fmla="*/ 19 w 1310"/>
                <a:gd name="T37" fmla="*/ 370 h 1770"/>
                <a:gd name="T38" fmla="*/ 75 w 1310"/>
                <a:gd name="T39" fmla="*/ 247 h 1770"/>
                <a:gd name="T40" fmla="*/ 169 w 1310"/>
                <a:gd name="T41" fmla="*/ 148 h 1770"/>
                <a:gd name="T42" fmla="*/ 294 w 1310"/>
                <a:gd name="T43" fmla="*/ 73 h 1770"/>
                <a:gd name="T44" fmla="*/ 443 w 1310"/>
                <a:gd name="T45" fmla="*/ 24 h 1770"/>
                <a:gd name="T46" fmla="*/ 614 w 1310"/>
                <a:gd name="T47" fmla="*/ 2 h 1770"/>
                <a:gd name="T48" fmla="*/ 836 w 1310"/>
                <a:gd name="T49" fmla="*/ 8 h 1770"/>
                <a:gd name="T50" fmla="*/ 1177 w 1310"/>
                <a:gd name="T51" fmla="*/ 61 h 1770"/>
                <a:gd name="T52" fmla="*/ 1060 w 1310"/>
                <a:gd name="T53" fmla="*/ 344 h 1770"/>
                <a:gd name="T54" fmla="*/ 921 w 1310"/>
                <a:gd name="T55" fmla="*/ 309 h 1770"/>
                <a:gd name="T56" fmla="*/ 787 w 1310"/>
                <a:gd name="T57" fmla="*/ 292 h 1770"/>
                <a:gd name="T58" fmla="*/ 638 w 1310"/>
                <a:gd name="T59" fmla="*/ 296 h 1770"/>
                <a:gd name="T60" fmla="*/ 521 w 1310"/>
                <a:gd name="T61" fmla="*/ 331 h 1770"/>
                <a:gd name="T62" fmla="*/ 483 w 1310"/>
                <a:gd name="T63" fmla="*/ 359 h 1770"/>
                <a:gd name="T64" fmla="*/ 459 w 1310"/>
                <a:gd name="T65" fmla="*/ 395 h 1770"/>
                <a:gd name="T66" fmla="*/ 450 w 1310"/>
                <a:gd name="T67" fmla="*/ 439 h 1770"/>
                <a:gd name="T68" fmla="*/ 463 w 1310"/>
                <a:gd name="T69" fmla="*/ 502 h 1770"/>
                <a:gd name="T70" fmla="*/ 521 w 1310"/>
                <a:gd name="T71" fmla="*/ 553 h 1770"/>
                <a:gd name="T72" fmla="*/ 674 w 1310"/>
                <a:gd name="T73" fmla="*/ 629 h 1770"/>
                <a:gd name="T74" fmla="*/ 946 w 1310"/>
                <a:gd name="T75" fmla="*/ 756 h 1770"/>
                <a:gd name="T76" fmla="*/ 1080 w 1310"/>
                <a:gd name="T77" fmla="*/ 832 h 1770"/>
                <a:gd name="T78" fmla="*/ 1174 w 1310"/>
                <a:gd name="T79" fmla="*/ 901 h 1770"/>
                <a:gd name="T80" fmla="*/ 1241 w 1310"/>
                <a:gd name="T81" fmla="*/ 979 h 1770"/>
                <a:gd name="T82" fmla="*/ 1287 w 1310"/>
                <a:gd name="T83" fmla="*/ 1074 h 1770"/>
                <a:gd name="T84" fmla="*/ 1308 w 1310"/>
                <a:gd name="T85" fmla="*/ 1182 h 1770"/>
                <a:gd name="T86" fmla="*/ 1301 w 1310"/>
                <a:gd name="T87" fmla="*/ 1328 h 1770"/>
                <a:gd name="T88" fmla="*/ 1276 w 1310"/>
                <a:gd name="T89" fmla="*/ 1418 h 1770"/>
                <a:gd name="T90" fmla="*/ 1242 w 1310"/>
                <a:gd name="T91" fmla="*/ 1486 h 1770"/>
                <a:gd name="T92" fmla="*/ 1196 w 1310"/>
                <a:gd name="T93" fmla="*/ 1547 h 1770"/>
                <a:gd name="T94" fmla="*/ 1098 w 1310"/>
                <a:gd name="T95" fmla="*/ 1633 h 1770"/>
                <a:gd name="T96" fmla="*/ 965 w 1310"/>
                <a:gd name="T97" fmla="*/ 1703 h 1770"/>
                <a:gd name="T98" fmla="*/ 813 w 1310"/>
                <a:gd name="T99" fmla="*/ 1747 h 1770"/>
                <a:gd name="T100" fmla="*/ 639 w 1310"/>
                <a:gd name="T101" fmla="*/ 1768 h 1770"/>
                <a:gd name="T102" fmla="*/ 366 w 1310"/>
                <a:gd name="T103" fmla="*/ 1761 h 1770"/>
                <a:gd name="T104" fmla="*/ 34 w 1310"/>
                <a:gd name="T105" fmla="*/ 1707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10" h="1770">
                  <a:moveTo>
                    <a:pt x="34" y="1707"/>
                  </a:moveTo>
                  <a:lnTo>
                    <a:pt x="34" y="1371"/>
                  </a:lnTo>
                  <a:lnTo>
                    <a:pt x="70" y="1382"/>
                  </a:lnTo>
                  <a:lnTo>
                    <a:pt x="105" y="1392"/>
                  </a:lnTo>
                  <a:lnTo>
                    <a:pt x="139" y="1401"/>
                  </a:lnTo>
                  <a:lnTo>
                    <a:pt x="174" y="1410"/>
                  </a:lnTo>
                  <a:lnTo>
                    <a:pt x="208" y="1419"/>
                  </a:lnTo>
                  <a:lnTo>
                    <a:pt x="240" y="1426"/>
                  </a:lnTo>
                  <a:lnTo>
                    <a:pt x="273" y="1432"/>
                  </a:lnTo>
                  <a:lnTo>
                    <a:pt x="306" y="1438"/>
                  </a:lnTo>
                  <a:lnTo>
                    <a:pt x="336" y="1444"/>
                  </a:lnTo>
                  <a:lnTo>
                    <a:pt x="368" y="1448"/>
                  </a:lnTo>
                  <a:lnTo>
                    <a:pt x="399" y="1452"/>
                  </a:lnTo>
                  <a:lnTo>
                    <a:pt x="428" y="1455"/>
                  </a:lnTo>
                  <a:lnTo>
                    <a:pt x="458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3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7" y="1451"/>
                  </a:lnTo>
                  <a:lnTo>
                    <a:pt x="705" y="1445"/>
                  </a:lnTo>
                  <a:lnTo>
                    <a:pt x="729" y="1438"/>
                  </a:lnTo>
                  <a:lnTo>
                    <a:pt x="741" y="1434"/>
                  </a:lnTo>
                  <a:lnTo>
                    <a:pt x="751" y="1430"/>
                  </a:lnTo>
                  <a:lnTo>
                    <a:pt x="763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3" y="1391"/>
                  </a:lnTo>
                  <a:lnTo>
                    <a:pt x="819" y="1385"/>
                  </a:lnTo>
                  <a:lnTo>
                    <a:pt x="825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8" y="1354"/>
                  </a:lnTo>
                  <a:lnTo>
                    <a:pt x="841" y="1346"/>
                  </a:lnTo>
                  <a:lnTo>
                    <a:pt x="844" y="1337"/>
                  </a:lnTo>
                  <a:lnTo>
                    <a:pt x="846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8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5" y="1208"/>
                  </a:lnTo>
                  <a:lnTo>
                    <a:pt x="804" y="1198"/>
                  </a:lnTo>
                  <a:lnTo>
                    <a:pt x="790" y="1187"/>
                  </a:lnTo>
                  <a:lnTo>
                    <a:pt x="773" y="1175"/>
                  </a:lnTo>
                  <a:lnTo>
                    <a:pt x="749" y="1161"/>
                  </a:lnTo>
                  <a:lnTo>
                    <a:pt x="723" y="1146"/>
                  </a:lnTo>
                  <a:lnTo>
                    <a:pt x="691" y="1131"/>
                  </a:lnTo>
                  <a:lnTo>
                    <a:pt x="656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5"/>
                  </a:lnTo>
                  <a:lnTo>
                    <a:pt x="352" y="980"/>
                  </a:lnTo>
                  <a:lnTo>
                    <a:pt x="321" y="964"/>
                  </a:lnTo>
                  <a:lnTo>
                    <a:pt x="292" y="949"/>
                  </a:lnTo>
                  <a:lnTo>
                    <a:pt x="266" y="935"/>
                  </a:lnTo>
                  <a:lnTo>
                    <a:pt x="241" y="921"/>
                  </a:lnTo>
                  <a:lnTo>
                    <a:pt x="219" y="906"/>
                  </a:lnTo>
                  <a:lnTo>
                    <a:pt x="198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6" y="854"/>
                  </a:lnTo>
                  <a:lnTo>
                    <a:pt x="132" y="842"/>
                  </a:lnTo>
                  <a:lnTo>
                    <a:pt x="116" y="826"/>
                  </a:lnTo>
                  <a:lnTo>
                    <a:pt x="101" y="808"/>
                  </a:lnTo>
                  <a:lnTo>
                    <a:pt x="87" y="791"/>
                  </a:lnTo>
                  <a:lnTo>
                    <a:pt x="74" y="773"/>
                  </a:lnTo>
                  <a:lnTo>
                    <a:pt x="62" y="754"/>
                  </a:lnTo>
                  <a:lnTo>
                    <a:pt x="52" y="736"/>
                  </a:lnTo>
                  <a:lnTo>
                    <a:pt x="42" y="715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5" y="588"/>
                  </a:lnTo>
                  <a:lnTo>
                    <a:pt x="2" y="564"/>
                  </a:lnTo>
                  <a:lnTo>
                    <a:pt x="1" y="541"/>
                  </a:lnTo>
                  <a:lnTo>
                    <a:pt x="0" y="516"/>
                  </a:lnTo>
                  <a:lnTo>
                    <a:pt x="1" y="485"/>
                  </a:lnTo>
                  <a:lnTo>
                    <a:pt x="3" y="455"/>
                  </a:lnTo>
                  <a:lnTo>
                    <a:pt x="7" y="425"/>
                  </a:lnTo>
                  <a:lnTo>
                    <a:pt x="12" y="397"/>
                  </a:lnTo>
                  <a:lnTo>
                    <a:pt x="19" y="370"/>
                  </a:lnTo>
                  <a:lnTo>
                    <a:pt x="27" y="344"/>
                  </a:lnTo>
                  <a:lnTo>
                    <a:pt x="36" y="318"/>
                  </a:lnTo>
                  <a:lnTo>
                    <a:pt x="48" y="294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8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3" y="61"/>
                  </a:lnTo>
                  <a:lnTo>
                    <a:pt x="352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6" y="18"/>
                  </a:lnTo>
                  <a:lnTo>
                    <a:pt x="509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1" y="0"/>
                  </a:lnTo>
                  <a:lnTo>
                    <a:pt x="689" y="0"/>
                  </a:lnTo>
                  <a:lnTo>
                    <a:pt x="733" y="0"/>
                  </a:lnTo>
                  <a:lnTo>
                    <a:pt x="783" y="3"/>
                  </a:lnTo>
                  <a:lnTo>
                    <a:pt x="836" y="8"/>
                  </a:lnTo>
                  <a:lnTo>
                    <a:pt x="895" y="15"/>
                  </a:lnTo>
                  <a:lnTo>
                    <a:pt x="958" y="23"/>
                  </a:lnTo>
                  <a:lnTo>
                    <a:pt x="1027" y="35"/>
                  </a:lnTo>
                  <a:lnTo>
                    <a:pt x="1099" y="47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8" y="363"/>
                  </a:lnTo>
                  <a:lnTo>
                    <a:pt x="1089" y="353"/>
                  </a:lnTo>
                  <a:lnTo>
                    <a:pt x="1060" y="344"/>
                  </a:lnTo>
                  <a:lnTo>
                    <a:pt x="1032" y="336"/>
                  </a:lnTo>
                  <a:lnTo>
                    <a:pt x="1003" y="327"/>
                  </a:lnTo>
                  <a:lnTo>
                    <a:pt x="976" y="320"/>
                  </a:lnTo>
                  <a:lnTo>
                    <a:pt x="947" y="314"/>
                  </a:lnTo>
                  <a:lnTo>
                    <a:pt x="921" y="309"/>
                  </a:lnTo>
                  <a:lnTo>
                    <a:pt x="893" y="304"/>
                  </a:lnTo>
                  <a:lnTo>
                    <a:pt x="867" y="300"/>
                  </a:lnTo>
                  <a:lnTo>
                    <a:pt x="839" y="297"/>
                  </a:lnTo>
                  <a:lnTo>
                    <a:pt x="814" y="294"/>
                  </a:lnTo>
                  <a:lnTo>
                    <a:pt x="787" y="292"/>
                  </a:lnTo>
                  <a:lnTo>
                    <a:pt x="762" y="291"/>
                  </a:lnTo>
                  <a:lnTo>
                    <a:pt x="736" y="291"/>
                  </a:lnTo>
                  <a:lnTo>
                    <a:pt x="700" y="292"/>
                  </a:lnTo>
                  <a:lnTo>
                    <a:pt x="669" y="293"/>
                  </a:lnTo>
                  <a:lnTo>
                    <a:pt x="638" y="296"/>
                  </a:lnTo>
                  <a:lnTo>
                    <a:pt x="610" y="301"/>
                  </a:lnTo>
                  <a:lnTo>
                    <a:pt x="584" y="306"/>
                  </a:lnTo>
                  <a:lnTo>
                    <a:pt x="561" y="313"/>
                  </a:lnTo>
                  <a:lnTo>
                    <a:pt x="539" y="321"/>
                  </a:lnTo>
                  <a:lnTo>
                    <a:pt x="521" y="331"/>
                  </a:lnTo>
                  <a:lnTo>
                    <a:pt x="512" y="336"/>
                  </a:lnTo>
                  <a:lnTo>
                    <a:pt x="504" y="341"/>
                  </a:lnTo>
                  <a:lnTo>
                    <a:pt x="496" y="346"/>
                  </a:lnTo>
                  <a:lnTo>
                    <a:pt x="489" y="352"/>
                  </a:lnTo>
                  <a:lnTo>
                    <a:pt x="483" y="359"/>
                  </a:lnTo>
                  <a:lnTo>
                    <a:pt x="477" y="365"/>
                  </a:lnTo>
                  <a:lnTo>
                    <a:pt x="472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6" y="403"/>
                  </a:lnTo>
                  <a:lnTo>
                    <a:pt x="454" y="411"/>
                  </a:lnTo>
                  <a:lnTo>
                    <a:pt x="452" y="420"/>
                  </a:lnTo>
                  <a:lnTo>
                    <a:pt x="450" y="430"/>
                  </a:lnTo>
                  <a:lnTo>
                    <a:pt x="450" y="439"/>
                  </a:lnTo>
                  <a:lnTo>
                    <a:pt x="448" y="449"/>
                  </a:lnTo>
                  <a:lnTo>
                    <a:pt x="450" y="463"/>
                  </a:lnTo>
                  <a:lnTo>
                    <a:pt x="453" y="477"/>
                  </a:lnTo>
                  <a:lnTo>
                    <a:pt x="457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3" y="536"/>
                  </a:lnTo>
                  <a:lnTo>
                    <a:pt x="507" y="545"/>
                  </a:lnTo>
                  <a:lnTo>
                    <a:pt x="521" y="553"/>
                  </a:lnTo>
                  <a:lnTo>
                    <a:pt x="541" y="564"/>
                  </a:lnTo>
                  <a:lnTo>
                    <a:pt x="567" y="577"/>
                  </a:lnTo>
                  <a:lnTo>
                    <a:pt x="597" y="592"/>
                  </a:lnTo>
                  <a:lnTo>
                    <a:pt x="633" y="609"/>
                  </a:lnTo>
                  <a:lnTo>
                    <a:pt x="674" y="629"/>
                  </a:lnTo>
                  <a:lnTo>
                    <a:pt x="720" y="649"/>
                  </a:lnTo>
                  <a:lnTo>
                    <a:pt x="772" y="672"/>
                  </a:lnTo>
                  <a:lnTo>
                    <a:pt x="846" y="707"/>
                  </a:lnTo>
                  <a:lnTo>
                    <a:pt x="915" y="740"/>
                  </a:lnTo>
                  <a:lnTo>
                    <a:pt x="946" y="756"/>
                  </a:lnTo>
                  <a:lnTo>
                    <a:pt x="976" y="771"/>
                  </a:lnTo>
                  <a:lnTo>
                    <a:pt x="1004" y="787"/>
                  </a:lnTo>
                  <a:lnTo>
                    <a:pt x="1032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2" y="846"/>
                  </a:lnTo>
                  <a:lnTo>
                    <a:pt x="1123" y="860"/>
                  </a:lnTo>
                  <a:lnTo>
                    <a:pt x="1141" y="875"/>
                  </a:lnTo>
                  <a:lnTo>
                    <a:pt x="1158" y="888"/>
                  </a:lnTo>
                  <a:lnTo>
                    <a:pt x="1174" y="901"/>
                  </a:lnTo>
                  <a:lnTo>
                    <a:pt x="1187" y="913"/>
                  </a:lnTo>
                  <a:lnTo>
                    <a:pt x="1202" y="930"/>
                  </a:lnTo>
                  <a:lnTo>
                    <a:pt x="1216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2" y="997"/>
                  </a:lnTo>
                  <a:lnTo>
                    <a:pt x="1262" y="1015"/>
                  </a:lnTo>
                  <a:lnTo>
                    <a:pt x="1271" y="1034"/>
                  </a:lnTo>
                  <a:lnTo>
                    <a:pt x="1279" y="1053"/>
                  </a:lnTo>
                  <a:lnTo>
                    <a:pt x="1287" y="1074"/>
                  </a:lnTo>
                  <a:lnTo>
                    <a:pt x="1293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8" y="1182"/>
                  </a:lnTo>
                  <a:lnTo>
                    <a:pt x="1309" y="1204"/>
                  </a:lnTo>
                  <a:lnTo>
                    <a:pt x="1310" y="1229"/>
                  </a:lnTo>
                  <a:lnTo>
                    <a:pt x="1309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7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1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8" y="1633"/>
                  </a:lnTo>
                  <a:lnTo>
                    <a:pt x="1069" y="1651"/>
                  </a:lnTo>
                  <a:lnTo>
                    <a:pt x="1044" y="1666"/>
                  </a:lnTo>
                  <a:lnTo>
                    <a:pt x="1019" y="1679"/>
                  </a:lnTo>
                  <a:lnTo>
                    <a:pt x="992" y="1691"/>
                  </a:lnTo>
                  <a:lnTo>
                    <a:pt x="965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3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2" y="1762"/>
                  </a:lnTo>
                  <a:lnTo>
                    <a:pt x="676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6" y="1761"/>
                  </a:lnTo>
                  <a:lnTo>
                    <a:pt x="300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1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6" name="Freeform 53"/>
            <p:cNvSpPr>
              <a:spLocks/>
            </p:cNvSpPr>
            <p:nvPr userDrawn="1"/>
          </p:nvSpPr>
          <p:spPr bwMode="auto">
            <a:xfrm>
              <a:off x="6294" y="350"/>
              <a:ext cx="39" cy="142"/>
            </a:xfrm>
            <a:custGeom>
              <a:avLst/>
              <a:gdLst>
                <a:gd name="T0" fmla="*/ 476 w 476"/>
                <a:gd name="T1" fmla="*/ 0 h 1706"/>
                <a:gd name="T2" fmla="*/ 476 w 476"/>
                <a:gd name="T3" fmla="*/ 1706 h 1706"/>
                <a:gd name="T4" fmla="*/ 0 w 476"/>
                <a:gd name="T5" fmla="*/ 1706 h 1706"/>
                <a:gd name="T6" fmla="*/ 0 w 476"/>
                <a:gd name="T7" fmla="*/ 0 h 1706"/>
                <a:gd name="T8" fmla="*/ 238 w 476"/>
                <a:gd name="T9" fmla="*/ 285 h 1706"/>
                <a:gd name="T10" fmla="*/ 476 w 476"/>
                <a:gd name="T11" fmla="*/ 0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76" h="1706">
                  <a:moveTo>
                    <a:pt x="476" y="0"/>
                  </a:moveTo>
                  <a:lnTo>
                    <a:pt x="476" y="1706"/>
                  </a:lnTo>
                  <a:lnTo>
                    <a:pt x="0" y="1706"/>
                  </a:lnTo>
                  <a:lnTo>
                    <a:pt x="0" y="0"/>
                  </a:lnTo>
                  <a:lnTo>
                    <a:pt x="238" y="285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7" name="Freeform 54"/>
            <p:cNvSpPr>
              <a:spLocks/>
            </p:cNvSpPr>
            <p:nvPr userDrawn="1"/>
          </p:nvSpPr>
          <p:spPr bwMode="auto">
            <a:xfrm>
              <a:off x="6294" y="350"/>
              <a:ext cx="39" cy="44"/>
            </a:xfrm>
            <a:custGeom>
              <a:avLst/>
              <a:gdLst>
                <a:gd name="T0" fmla="*/ 476 w 476"/>
                <a:gd name="T1" fmla="*/ 0 h 530"/>
                <a:gd name="T2" fmla="*/ 0 w 476"/>
                <a:gd name="T3" fmla="*/ 0 h 530"/>
                <a:gd name="T4" fmla="*/ 238 w 476"/>
                <a:gd name="T5" fmla="*/ 530 h 530"/>
                <a:gd name="T6" fmla="*/ 476 w 476"/>
                <a:gd name="T7" fmla="*/ 0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76" h="530">
                  <a:moveTo>
                    <a:pt x="476" y="0"/>
                  </a:moveTo>
                  <a:lnTo>
                    <a:pt x="0" y="0"/>
                  </a:lnTo>
                  <a:lnTo>
                    <a:pt x="238" y="530"/>
                  </a:lnTo>
                  <a:lnTo>
                    <a:pt x="476" y="0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8" name="Freeform 55"/>
            <p:cNvSpPr>
              <a:spLocks/>
            </p:cNvSpPr>
            <p:nvPr userDrawn="1"/>
          </p:nvSpPr>
          <p:spPr bwMode="auto">
            <a:xfrm>
              <a:off x="6370" y="350"/>
              <a:ext cx="103" cy="142"/>
            </a:xfrm>
            <a:custGeom>
              <a:avLst/>
              <a:gdLst>
                <a:gd name="T0" fmla="*/ 0 w 1241"/>
                <a:gd name="T1" fmla="*/ 1706 h 1706"/>
                <a:gd name="T2" fmla="*/ 0 w 1241"/>
                <a:gd name="T3" fmla="*/ 0 h 1706"/>
                <a:gd name="T4" fmla="*/ 1222 w 1241"/>
                <a:gd name="T5" fmla="*/ 0 h 1706"/>
                <a:gd name="T6" fmla="*/ 1222 w 1241"/>
                <a:gd name="T7" fmla="*/ 309 h 1706"/>
                <a:gd name="T8" fmla="*/ 459 w 1241"/>
                <a:gd name="T9" fmla="*/ 309 h 1706"/>
                <a:gd name="T10" fmla="*/ 459 w 1241"/>
                <a:gd name="T11" fmla="*/ 693 h 1706"/>
                <a:gd name="T12" fmla="*/ 1123 w 1241"/>
                <a:gd name="T13" fmla="*/ 693 h 1706"/>
                <a:gd name="T14" fmla="*/ 1123 w 1241"/>
                <a:gd name="T15" fmla="*/ 975 h 1706"/>
                <a:gd name="T16" fmla="*/ 459 w 1241"/>
                <a:gd name="T17" fmla="*/ 975 h 1706"/>
                <a:gd name="T18" fmla="*/ 459 w 1241"/>
                <a:gd name="T19" fmla="*/ 1380 h 1706"/>
                <a:gd name="T20" fmla="*/ 1241 w 1241"/>
                <a:gd name="T21" fmla="*/ 1380 h 1706"/>
                <a:gd name="T22" fmla="*/ 1241 w 1241"/>
                <a:gd name="T23" fmla="*/ 1706 h 1706"/>
                <a:gd name="T24" fmla="*/ 0 w 1241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1" h="1706">
                  <a:moveTo>
                    <a:pt x="0" y="1706"/>
                  </a:moveTo>
                  <a:lnTo>
                    <a:pt x="0" y="0"/>
                  </a:lnTo>
                  <a:lnTo>
                    <a:pt x="1222" y="0"/>
                  </a:lnTo>
                  <a:lnTo>
                    <a:pt x="1222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1" y="1380"/>
                  </a:lnTo>
                  <a:lnTo>
                    <a:pt x="1241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29" name="Freeform 56"/>
            <p:cNvSpPr>
              <a:spLocks/>
            </p:cNvSpPr>
            <p:nvPr userDrawn="1"/>
          </p:nvSpPr>
          <p:spPr bwMode="auto">
            <a:xfrm>
              <a:off x="6499" y="350"/>
              <a:ext cx="173" cy="143"/>
            </a:xfrm>
            <a:custGeom>
              <a:avLst/>
              <a:gdLst>
                <a:gd name="T0" fmla="*/ 0 w 2073"/>
                <a:gd name="T1" fmla="*/ 1706 h 1723"/>
                <a:gd name="T2" fmla="*/ 0 w 2073"/>
                <a:gd name="T3" fmla="*/ 0 h 1723"/>
                <a:gd name="T4" fmla="*/ 617 w 2073"/>
                <a:gd name="T5" fmla="*/ 0 h 1723"/>
                <a:gd name="T6" fmla="*/ 1047 w 2073"/>
                <a:gd name="T7" fmla="*/ 1090 h 1723"/>
                <a:gd name="T8" fmla="*/ 1486 w 2073"/>
                <a:gd name="T9" fmla="*/ 0 h 1723"/>
                <a:gd name="T10" fmla="*/ 2073 w 2073"/>
                <a:gd name="T11" fmla="*/ 0 h 1723"/>
                <a:gd name="T12" fmla="*/ 2073 w 2073"/>
                <a:gd name="T13" fmla="*/ 1706 h 1723"/>
                <a:gd name="T14" fmla="*/ 1621 w 2073"/>
                <a:gd name="T15" fmla="*/ 1706 h 1723"/>
                <a:gd name="T16" fmla="*/ 1621 w 2073"/>
                <a:gd name="T17" fmla="*/ 499 h 1723"/>
                <a:gd name="T18" fmla="*/ 1121 w 2073"/>
                <a:gd name="T19" fmla="*/ 1723 h 1723"/>
                <a:gd name="T20" fmla="*/ 826 w 2073"/>
                <a:gd name="T21" fmla="*/ 1723 h 1723"/>
                <a:gd name="T22" fmla="*/ 336 w 2073"/>
                <a:gd name="T23" fmla="*/ 499 h 1723"/>
                <a:gd name="T24" fmla="*/ 336 w 2073"/>
                <a:gd name="T25" fmla="*/ 1706 h 1723"/>
                <a:gd name="T26" fmla="*/ 0 w 2073"/>
                <a:gd name="T27" fmla="*/ 1706 h 1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73" h="1723">
                  <a:moveTo>
                    <a:pt x="0" y="1706"/>
                  </a:moveTo>
                  <a:lnTo>
                    <a:pt x="0" y="0"/>
                  </a:lnTo>
                  <a:lnTo>
                    <a:pt x="617" y="0"/>
                  </a:lnTo>
                  <a:lnTo>
                    <a:pt x="1047" y="1090"/>
                  </a:lnTo>
                  <a:lnTo>
                    <a:pt x="1486" y="0"/>
                  </a:lnTo>
                  <a:lnTo>
                    <a:pt x="2073" y="0"/>
                  </a:lnTo>
                  <a:lnTo>
                    <a:pt x="2073" y="1706"/>
                  </a:lnTo>
                  <a:lnTo>
                    <a:pt x="1621" y="1706"/>
                  </a:lnTo>
                  <a:lnTo>
                    <a:pt x="1621" y="499"/>
                  </a:lnTo>
                  <a:lnTo>
                    <a:pt x="1121" y="1723"/>
                  </a:lnTo>
                  <a:lnTo>
                    <a:pt x="826" y="1723"/>
                  </a:lnTo>
                  <a:lnTo>
                    <a:pt x="336" y="499"/>
                  </a:lnTo>
                  <a:lnTo>
                    <a:pt x="336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0" name="Freeform 57"/>
            <p:cNvSpPr>
              <a:spLocks/>
            </p:cNvSpPr>
            <p:nvPr userDrawn="1"/>
          </p:nvSpPr>
          <p:spPr bwMode="auto">
            <a:xfrm>
              <a:off x="6708" y="350"/>
              <a:ext cx="104" cy="142"/>
            </a:xfrm>
            <a:custGeom>
              <a:avLst/>
              <a:gdLst>
                <a:gd name="T0" fmla="*/ 0 w 1242"/>
                <a:gd name="T1" fmla="*/ 1706 h 1706"/>
                <a:gd name="T2" fmla="*/ 0 w 1242"/>
                <a:gd name="T3" fmla="*/ 0 h 1706"/>
                <a:gd name="T4" fmla="*/ 1221 w 1242"/>
                <a:gd name="T5" fmla="*/ 0 h 1706"/>
                <a:gd name="T6" fmla="*/ 1221 w 1242"/>
                <a:gd name="T7" fmla="*/ 309 h 1706"/>
                <a:gd name="T8" fmla="*/ 459 w 1242"/>
                <a:gd name="T9" fmla="*/ 309 h 1706"/>
                <a:gd name="T10" fmla="*/ 459 w 1242"/>
                <a:gd name="T11" fmla="*/ 693 h 1706"/>
                <a:gd name="T12" fmla="*/ 1123 w 1242"/>
                <a:gd name="T13" fmla="*/ 693 h 1706"/>
                <a:gd name="T14" fmla="*/ 1123 w 1242"/>
                <a:gd name="T15" fmla="*/ 975 h 1706"/>
                <a:gd name="T16" fmla="*/ 459 w 1242"/>
                <a:gd name="T17" fmla="*/ 975 h 1706"/>
                <a:gd name="T18" fmla="*/ 459 w 1242"/>
                <a:gd name="T19" fmla="*/ 1380 h 1706"/>
                <a:gd name="T20" fmla="*/ 1242 w 1242"/>
                <a:gd name="T21" fmla="*/ 1380 h 1706"/>
                <a:gd name="T22" fmla="*/ 1242 w 1242"/>
                <a:gd name="T23" fmla="*/ 1706 h 1706"/>
                <a:gd name="T24" fmla="*/ 0 w 1242"/>
                <a:gd name="T25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242" h="1706">
                  <a:moveTo>
                    <a:pt x="0" y="1706"/>
                  </a:moveTo>
                  <a:lnTo>
                    <a:pt x="0" y="0"/>
                  </a:lnTo>
                  <a:lnTo>
                    <a:pt x="1221" y="0"/>
                  </a:lnTo>
                  <a:lnTo>
                    <a:pt x="1221" y="309"/>
                  </a:lnTo>
                  <a:lnTo>
                    <a:pt x="459" y="309"/>
                  </a:lnTo>
                  <a:lnTo>
                    <a:pt x="459" y="693"/>
                  </a:lnTo>
                  <a:lnTo>
                    <a:pt x="1123" y="693"/>
                  </a:lnTo>
                  <a:lnTo>
                    <a:pt x="1123" y="975"/>
                  </a:lnTo>
                  <a:lnTo>
                    <a:pt x="459" y="975"/>
                  </a:lnTo>
                  <a:lnTo>
                    <a:pt x="459" y="1380"/>
                  </a:lnTo>
                  <a:lnTo>
                    <a:pt x="1242" y="1380"/>
                  </a:lnTo>
                  <a:lnTo>
                    <a:pt x="1242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1" name="Freeform 58"/>
            <p:cNvSpPr>
              <a:spLocks/>
            </p:cNvSpPr>
            <p:nvPr userDrawn="1"/>
          </p:nvSpPr>
          <p:spPr bwMode="auto">
            <a:xfrm>
              <a:off x="6838" y="350"/>
              <a:ext cx="123" cy="142"/>
            </a:xfrm>
            <a:custGeom>
              <a:avLst/>
              <a:gdLst>
                <a:gd name="T0" fmla="*/ 0 w 1473"/>
                <a:gd name="T1" fmla="*/ 1706 h 1706"/>
                <a:gd name="T2" fmla="*/ 0 w 1473"/>
                <a:gd name="T3" fmla="*/ 0 h 1706"/>
                <a:gd name="T4" fmla="*/ 551 w 1473"/>
                <a:gd name="T5" fmla="*/ 0 h 1706"/>
                <a:gd name="T6" fmla="*/ 1137 w 1473"/>
                <a:gd name="T7" fmla="*/ 1142 h 1706"/>
                <a:gd name="T8" fmla="*/ 1137 w 1473"/>
                <a:gd name="T9" fmla="*/ 0 h 1706"/>
                <a:gd name="T10" fmla="*/ 1473 w 1473"/>
                <a:gd name="T11" fmla="*/ 0 h 1706"/>
                <a:gd name="T12" fmla="*/ 1473 w 1473"/>
                <a:gd name="T13" fmla="*/ 1706 h 1706"/>
                <a:gd name="T14" fmla="*/ 936 w 1473"/>
                <a:gd name="T15" fmla="*/ 1706 h 1706"/>
                <a:gd name="T16" fmla="*/ 335 w 1473"/>
                <a:gd name="T17" fmla="*/ 549 h 1706"/>
                <a:gd name="T18" fmla="*/ 335 w 1473"/>
                <a:gd name="T19" fmla="*/ 1706 h 1706"/>
                <a:gd name="T20" fmla="*/ 0 w 1473"/>
                <a:gd name="T21" fmla="*/ 1706 h 17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473" h="1706">
                  <a:moveTo>
                    <a:pt x="0" y="1706"/>
                  </a:moveTo>
                  <a:lnTo>
                    <a:pt x="0" y="0"/>
                  </a:lnTo>
                  <a:lnTo>
                    <a:pt x="551" y="0"/>
                  </a:lnTo>
                  <a:lnTo>
                    <a:pt x="1137" y="1142"/>
                  </a:lnTo>
                  <a:lnTo>
                    <a:pt x="1137" y="0"/>
                  </a:lnTo>
                  <a:lnTo>
                    <a:pt x="1473" y="0"/>
                  </a:lnTo>
                  <a:lnTo>
                    <a:pt x="1473" y="1706"/>
                  </a:lnTo>
                  <a:lnTo>
                    <a:pt x="936" y="1706"/>
                  </a:lnTo>
                  <a:lnTo>
                    <a:pt x="335" y="549"/>
                  </a:lnTo>
                  <a:lnTo>
                    <a:pt x="335" y="1706"/>
                  </a:lnTo>
                  <a:lnTo>
                    <a:pt x="0" y="1706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  <p:sp>
          <p:nvSpPr>
            <p:cNvPr id="32" name="Freeform 59"/>
            <p:cNvSpPr>
              <a:spLocks/>
            </p:cNvSpPr>
            <p:nvPr userDrawn="1"/>
          </p:nvSpPr>
          <p:spPr bwMode="auto">
            <a:xfrm>
              <a:off x="6986" y="347"/>
              <a:ext cx="109" cy="148"/>
            </a:xfrm>
            <a:custGeom>
              <a:avLst/>
              <a:gdLst>
                <a:gd name="T0" fmla="*/ 138 w 1309"/>
                <a:gd name="T1" fmla="*/ 1401 h 1770"/>
                <a:gd name="T2" fmla="*/ 303 w 1309"/>
                <a:gd name="T3" fmla="*/ 1438 h 1770"/>
                <a:gd name="T4" fmla="*/ 456 w 1309"/>
                <a:gd name="T5" fmla="*/ 1457 h 1770"/>
                <a:gd name="T6" fmla="*/ 615 w 1309"/>
                <a:gd name="T7" fmla="*/ 1458 h 1770"/>
                <a:gd name="T8" fmla="*/ 740 w 1309"/>
                <a:gd name="T9" fmla="*/ 1434 h 1770"/>
                <a:gd name="T10" fmla="*/ 790 w 1309"/>
                <a:gd name="T11" fmla="*/ 1409 h 1770"/>
                <a:gd name="T12" fmla="*/ 824 w 1309"/>
                <a:gd name="T13" fmla="*/ 1378 h 1770"/>
                <a:gd name="T14" fmla="*/ 843 w 1309"/>
                <a:gd name="T15" fmla="*/ 1337 h 1770"/>
                <a:gd name="T16" fmla="*/ 847 w 1309"/>
                <a:gd name="T17" fmla="*/ 1285 h 1770"/>
                <a:gd name="T18" fmla="*/ 824 w 1309"/>
                <a:gd name="T19" fmla="*/ 1220 h 1770"/>
                <a:gd name="T20" fmla="*/ 750 w 1309"/>
                <a:gd name="T21" fmla="*/ 1161 h 1770"/>
                <a:gd name="T22" fmla="*/ 571 w 1309"/>
                <a:gd name="T23" fmla="*/ 1078 h 1770"/>
                <a:gd name="T24" fmla="*/ 321 w 1309"/>
                <a:gd name="T25" fmla="*/ 965 h 1770"/>
                <a:gd name="T26" fmla="*/ 197 w 1309"/>
                <a:gd name="T27" fmla="*/ 893 h 1770"/>
                <a:gd name="T28" fmla="*/ 116 w 1309"/>
                <a:gd name="T29" fmla="*/ 826 h 1770"/>
                <a:gd name="T30" fmla="*/ 51 w 1309"/>
                <a:gd name="T31" fmla="*/ 736 h 1770"/>
                <a:gd name="T32" fmla="*/ 13 w 1309"/>
                <a:gd name="T33" fmla="*/ 633 h 1770"/>
                <a:gd name="T34" fmla="*/ 0 w 1309"/>
                <a:gd name="T35" fmla="*/ 515 h 1770"/>
                <a:gd name="T36" fmla="*/ 18 w 1309"/>
                <a:gd name="T37" fmla="*/ 369 h 1770"/>
                <a:gd name="T38" fmla="*/ 75 w 1309"/>
                <a:gd name="T39" fmla="*/ 247 h 1770"/>
                <a:gd name="T40" fmla="*/ 169 w 1309"/>
                <a:gd name="T41" fmla="*/ 148 h 1770"/>
                <a:gd name="T42" fmla="*/ 294 w 1309"/>
                <a:gd name="T43" fmla="*/ 73 h 1770"/>
                <a:gd name="T44" fmla="*/ 443 w 1309"/>
                <a:gd name="T45" fmla="*/ 24 h 1770"/>
                <a:gd name="T46" fmla="*/ 614 w 1309"/>
                <a:gd name="T47" fmla="*/ 2 h 1770"/>
                <a:gd name="T48" fmla="*/ 832 w 1309"/>
                <a:gd name="T49" fmla="*/ 7 h 1770"/>
                <a:gd name="T50" fmla="*/ 1134 w 1309"/>
                <a:gd name="T51" fmla="*/ 54 h 1770"/>
                <a:gd name="T52" fmla="*/ 1088 w 1309"/>
                <a:gd name="T53" fmla="*/ 353 h 1770"/>
                <a:gd name="T54" fmla="*/ 947 w 1309"/>
                <a:gd name="T55" fmla="*/ 314 h 1770"/>
                <a:gd name="T56" fmla="*/ 811 w 1309"/>
                <a:gd name="T57" fmla="*/ 294 h 1770"/>
                <a:gd name="T58" fmla="*/ 667 w 1309"/>
                <a:gd name="T59" fmla="*/ 293 h 1770"/>
                <a:gd name="T60" fmla="*/ 539 w 1309"/>
                <a:gd name="T61" fmla="*/ 321 h 1770"/>
                <a:gd name="T62" fmla="*/ 488 w 1309"/>
                <a:gd name="T63" fmla="*/ 352 h 1770"/>
                <a:gd name="T64" fmla="*/ 463 w 1309"/>
                <a:gd name="T65" fmla="*/ 387 h 1770"/>
                <a:gd name="T66" fmla="*/ 449 w 1309"/>
                <a:gd name="T67" fmla="*/ 430 h 1770"/>
                <a:gd name="T68" fmla="*/ 456 w 1309"/>
                <a:gd name="T69" fmla="*/ 490 h 1770"/>
                <a:gd name="T70" fmla="*/ 506 w 1309"/>
                <a:gd name="T71" fmla="*/ 545 h 1770"/>
                <a:gd name="T72" fmla="*/ 632 w 1309"/>
                <a:gd name="T73" fmla="*/ 608 h 1770"/>
                <a:gd name="T74" fmla="*/ 914 w 1309"/>
                <a:gd name="T75" fmla="*/ 740 h 1770"/>
                <a:gd name="T76" fmla="*/ 1101 w 1309"/>
                <a:gd name="T77" fmla="*/ 846 h 1770"/>
                <a:gd name="T78" fmla="*/ 1187 w 1309"/>
                <a:gd name="T79" fmla="*/ 913 h 1770"/>
                <a:gd name="T80" fmla="*/ 1251 w 1309"/>
                <a:gd name="T81" fmla="*/ 997 h 1770"/>
                <a:gd name="T82" fmla="*/ 1292 w 1309"/>
                <a:gd name="T83" fmla="*/ 1094 h 1770"/>
                <a:gd name="T84" fmla="*/ 1309 w 1309"/>
                <a:gd name="T85" fmla="*/ 1204 h 1770"/>
                <a:gd name="T86" fmla="*/ 1295 w 1309"/>
                <a:gd name="T87" fmla="*/ 1358 h 1770"/>
                <a:gd name="T88" fmla="*/ 1270 w 1309"/>
                <a:gd name="T89" fmla="*/ 1432 h 1770"/>
                <a:gd name="T90" fmla="*/ 1234 w 1309"/>
                <a:gd name="T91" fmla="*/ 1499 h 1770"/>
                <a:gd name="T92" fmla="*/ 1186 w 1309"/>
                <a:gd name="T93" fmla="*/ 1559 h 1770"/>
                <a:gd name="T94" fmla="*/ 1069 w 1309"/>
                <a:gd name="T95" fmla="*/ 1651 h 1770"/>
                <a:gd name="T96" fmla="*/ 936 w 1309"/>
                <a:gd name="T97" fmla="*/ 1714 h 1770"/>
                <a:gd name="T98" fmla="*/ 780 w 1309"/>
                <a:gd name="T99" fmla="*/ 1752 h 1770"/>
                <a:gd name="T100" fmla="*/ 601 w 1309"/>
                <a:gd name="T101" fmla="*/ 1769 h 1770"/>
                <a:gd name="T102" fmla="*/ 299 w 1309"/>
                <a:gd name="T103" fmla="*/ 1754 h 17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09" h="1770">
                  <a:moveTo>
                    <a:pt x="34" y="1707"/>
                  </a:moveTo>
                  <a:lnTo>
                    <a:pt x="34" y="1371"/>
                  </a:lnTo>
                  <a:lnTo>
                    <a:pt x="69" y="1382"/>
                  </a:lnTo>
                  <a:lnTo>
                    <a:pt x="105" y="1392"/>
                  </a:lnTo>
                  <a:lnTo>
                    <a:pt x="138" y="1401"/>
                  </a:lnTo>
                  <a:lnTo>
                    <a:pt x="173" y="1410"/>
                  </a:lnTo>
                  <a:lnTo>
                    <a:pt x="206" y="1419"/>
                  </a:lnTo>
                  <a:lnTo>
                    <a:pt x="239" y="1426"/>
                  </a:lnTo>
                  <a:lnTo>
                    <a:pt x="272" y="1432"/>
                  </a:lnTo>
                  <a:lnTo>
                    <a:pt x="303" y="1438"/>
                  </a:lnTo>
                  <a:lnTo>
                    <a:pt x="335" y="1444"/>
                  </a:lnTo>
                  <a:lnTo>
                    <a:pt x="366" y="1448"/>
                  </a:lnTo>
                  <a:lnTo>
                    <a:pt x="396" y="1452"/>
                  </a:lnTo>
                  <a:lnTo>
                    <a:pt x="427" y="1455"/>
                  </a:lnTo>
                  <a:lnTo>
                    <a:pt x="456" y="1457"/>
                  </a:lnTo>
                  <a:lnTo>
                    <a:pt x="486" y="1459"/>
                  </a:lnTo>
                  <a:lnTo>
                    <a:pt x="515" y="1460"/>
                  </a:lnTo>
                  <a:lnTo>
                    <a:pt x="542" y="1461"/>
                  </a:lnTo>
                  <a:lnTo>
                    <a:pt x="580" y="1460"/>
                  </a:lnTo>
                  <a:lnTo>
                    <a:pt x="615" y="1458"/>
                  </a:lnTo>
                  <a:lnTo>
                    <a:pt x="646" y="1455"/>
                  </a:lnTo>
                  <a:lnTo>
                    <a:pt x="676" y="1451"/>
                  </a:lnTo>
                  <a:lnTo>
                    <a:pt x="703" y="1445"/>
                  </a:lnTo>
                  <a:lnTo>
                    <a:pt x="729" y="1438"/>
                  </a:lnTo>
                  <a:lnTo>
                    <a:pt x="740" y="1434"/>
                  </a:lnTo>
                  <a:lnTo>
                    <a:pt x="751" y="1430"/>
                  </a:lnTo>
                  <a:lnTo>
                    <a:pt x="761" y="1426"/>
                  </a:lnTo>
                  <a:lnTo>
                    <a:pt x="772" y="1421"/>
                  </a:lnTo>
                  <a:lnTo>
                    <a:pt x="781" y="1416"/>
                  </a:lnTo>
                  <a:lnTo>
                    <a:pt x="790" y="1409"/>
                  </a:lnTo>
                  <a:lnTo>
                    <a:pt x="798" y="1404"/>
                  </a:lnTo>
                  <a:lnTo>
                    <a:pt x="805" y="1398"/>
                  </a:lnTo>
                  <a:lnTo>
                    <a:pt x="812" y="1391"/>
                  </a:lnTo>
                  <a:lnTo>
                    <a:pt x="819" y="1385"/>
                  </a:lnTo>
                  <a:lnTo>
                    <a:pt x="824" y="1378"/>
                  </a:lnTo>
                  <a:lnTo>
                    <a:pt x="829" y="1370"/>
                  </a:lnTo>
                  <a:lnTo>
                    <a:pt x="834" y="1362"/>
                  </a:lnTo>
                  <a:lnTo>
                    <a:pt x="837" y="1354"/>
                  </a:lnTo>
                  <a:lnTo>
                    <a:pt x="841" y="1346"/>
                  </a:lnTo>
                  <a:lnTo>
                    <a:pt x="843" y="1337"/>
                  </a:lnTo>
                  <a:lnTo>
                    <a:pt x="845" y="1329"/>
                  </a:lnTo>
                  <a:lnTo>
                    <a:pt x="847" y="1319"/>
                  </a:lnTo>
                  <a:lnTo>
                    <a:pt x="848" y="1309"/>
                  </a:lnTo>
                  <a:lnTo>
                    <a:pt x="848" y="1299"/>
                  </a:lnTo>
                  <a:lnTo>
                    <a:pt x="847" y="1285"/>
                  </a:lnTo>
                  <a:lnTo>
                    <a:pt x="845" y="1271"/>
                  </a:lnTo>
                  <a:lnTo>
                    <a:pt x="842" y="1257"/>
                  </a:lnTo>
                  <a:lnTo>
                    <a:pt x="837" y="1244"/>
                  </a:lnTo>
                  <a:lnTo>
                    <a:pt x="831" y="1232"/>
                  </a:lnTo>
                  <a:lnTo>
                    <a:pt x="824" y="1220"/>
                  </a:lnTo>
                  <a:lnTo>
                    <a:pt x="814" y="1208"/>
                  </a:lnTo>
                  <a:lnTo>
                    <a:pt x="805" y="1198"/>
                  </a:lnTo>
                  <a:lnTo>
                    <a:pt x="791" y="1187"/>
                  </a:lnTo>
                  <a:lnTo>
                    <a:pt x="773" y="1175"/>
                  </a:lnTo>
                  <a:lnTo>
                    <a:pt x="750" y="1161"/>
                  </a:lnTo>
                  <a:lnTo>
                    <a:pt x="724" y="1146"/>
                  </a:lnTo>
                  <a:lnTo>
                    <a:pt x="692" y="1131"/>
                  </a:lnTo>
                  <a:lnTo>
                    <a:pt x="655" y="1114"/>
                  </a:lnTo>
                  <a:lnTo>
                    <a:pt x="616" y="1096"/>
                  </a:lnTo>
                  <a:lnTo>
                    <a:pt x="571" y="1078"/>
                  </a:lnTo>
                  <a:lnTo>
                    <a:pt x="490" y="1044"/>
                  </a:lnTo>
                  <a:lnTo>
                    <a:pt x="417" y="1011"/>
                  </a:lnTo>
                  <a:lnTo>
                    <a:pt x="383" y="996"/>
                  </a:lnTo>
                  <a:lnTo>
                    <a:pt x="351" y="980"/>
                  </a:lnTo>
                  <a:lnTo>
                    <a:pt x="321" y="965"/>
                  </a:lnTo>
                  <a:lnTo>
                    <a:pt x="293" y="950"/>
                  </a:lnTo>
                  <a:lnTo>
                    <a:pt x="267" y="936"/>
                  </a:lnTo>
                  <a:lnTo>
                    <a:pt x="241" y="922"/>
                  </a:lnTo>
                  <a:lnTo>
                    <a:pt x="219" y="907"/>
                  </a:lnTo>
                  <a:lnTo>
                    <a:pt x="197" y="893"/>
                  </a:lnTo>
                  <a:lnTo>
                    <a:pt x="178" y="880"/>
                  </a:lnTo>
                  <a:lnTo>
                    <a:pt x="161" y="866"/>
                  </a:lnTo>
                  <a:lnTo>
                    <a:pt x="145" y="854"/>
                  </a:lnTo>
                  <a:lnTo>
                    <a:pt x="131" y="842"/>
                  </a:lnTo>
                  <a:lnTo>
                    <a:pt x="116" y="826"/>
                  </a:lnTo>
                  <a:lnTo>
                    <a:pt x="100" y="808"/>
                  </a:lnTo>
                  <a:lnTo>
                    <a:pt x="86" y="791"/>
                  </a:lnTo>
                  <a:lnTo>
                    <a:pt x="74" y="774"/>
                  </a:lnTo>
                  <a:lnTo>
                    <a:pt x="62" y="755"/>
                  </a:lnTo>
                  <a:lnTo>
                    <a:pt x="51" y="736"/>
                  </a:lnTo>
                  <a:lnTo>
                    <a:pt x="41" y="716"/>
                  </a:lnTo>
                  <a:lnTo>
                    <a:pt x="32" y="696"/>
                  </a:lnTo>
                  <a:lnTo>
                    <a:pt x="25" y="676"/>
                  </a:lnTo>
                  <a:lnTo>
                    <a:pt x="18" y="654"/>
                  </a:lnTo>
                  <a:lnTo>
                    <a:pt x="13" y="633"/>
                  </a:lnTo>
                  <a:lnTo>
                    <a:pt x="8" y="610"/>
                  </a:lnTo>
                  <a:lnTo>
                    <a:pt x="4" y="587"/>
                  </a:lnTo>
                  <a:lnTo>
                    <a:pt x="2" y="563"/>
                  </a:lnTo>
                  <a:lnTo>
                    <a:pt x="0" y="540"/>
                  </a:lnTo>
                  <a:lnTo>
                    <a:pt x="0" y="515"/>
                  </a:lnTo>
                  <a:lnTo>
                    <a:pt x="1" y="484"/>
                  </a:lnTo>
                  <a:lnTo>
                    <a:pt x="3" y="454"/>
                  </a:lnTo>
                  <a:lnTo>
                    <a:pt x="7" y="424"/>
                  </a:lnTo>
                  <a:lnTo>
                    <a:pt x="12" y="397"/>
                  </a:lnTo>
                  <a:lnTo>
                    <a:pt x="18" y="369"/>
                  </a:lnTo>
                  <a:lnTo>
                    <a:pt x="26" y="343"/>
                  </a:lnTo>
                  <a:lnTo>
                    <a:pt x="36" y="317"/>
                  </a:lnTo>
                  <a:lnTo>
                    <a:pt x="47" y="293"/>
                  </a:lnTo>
                  <a:lnTo>
                    <a:pt x="61" y="269"/>
                  </a:lnTo>
                  <a:lnTo>
                    <a:pt x="75" y="247"/>
                  </a:lnTo>
                  <a:lnTo>
                    <a:pt x="90" y="225"/>
                  </a:lnTo>
                  <a:lnTo>
                    <a:pt x="108" y="204"/>
                  </a:lnTo>
                  <a:lnTo>
                    <a:pt x="127" y="185"/>
                  </a:lnTo>
                  <a:lnTo>
                    <a:pt x="146" y="165"/>
                  </a:lnTo>
                  <a:lnTo>
                    <a:pt x="169" y="148"/>
                  </a:lnTo>
                  <a:lnTo>
                    <a:pt x="192" y="131"/>
                  </a:lnTo>
                  <a:lnTo>
                    <a:pt x="217" y="115"/>
                  </a:lnTo>
                  <a:lnTo>
                    <a:pt x="241" y="100"/>
                  </a:lnTo>
                  <a:lnTo>
                    <a:pt x="268" y="86"/>
                  </a:lnTo>
                  <a:lnTo>
                    <a:pt x="294" y="73"/>
                  </a:lnTo>
                  <a:lnTo>
                    <a:pt x="322" y="61"/>
                  </a:lnTo>
                  <a:lnTo>
                    <a:pt x="351" y="51"/>
                  </a:lnTo>
                  <a:lnTo>
                    <a:pt x="381" y="41"/>
                  </a:lnTo>
                  <a:lnTo>
                    <a:pt x="412" y="33"/>
                  </a:lnTo>
                  <a:lnTo>
                    <a:pt x="443" y="24"/>
                  </a:lnTo>
                  <a:lnTo>
                    <a:pt x="475" y="18"/>
                  </a:lnTo>
                  <a:lnTo>
                    <a:pt x="508" y="12"/>
                  </a:lnTo>
                  <a:lnTo>
                    <a:pt x="543" y="8"/>
                  </a:lnTo>
                  <a:lnTo>
                    <a:pt x="578" y="4"/>
                  </a:lnTo>
                  <a:lnTo>
                    <a:pt x="614" y="2"/>
                  </a:lnTo>
                  <a:lnTo>
                    <a:pt x="650" y="0"/>
                  </a:lnTo>
                  <a:lnTo>
                    <a:pt x="688" y="0"/>
                  </a:lnTo>
                  <a:lnTo>
                    <a:pt x="733" y="0"/>
                  </a:lnTo>
                  <a:lnTo>
                    <a:pt x="781" y="3"/>
                  </a:lnTo>
                  <a:lnTo>
                    <a:pt x="832" y="7"/>
                  </a:lnTo>
                  <a:lnTo>
                    <a:pt x="886" y="13"/>
                  </a:lnTo>
                  <a:lnTo>
                    <a:pt x="943" y="20"/>
                  </a:lnTo>
                  <a:lnTo>
                    <a:pt x="1004" y="30"/>
                  </a:lnTo>
                  <a:lnTo>
                    <a:pt x="1067" y="42"/>
                  </a:lnTo>
                  <a:lnTo>
                    <a:pt x="1134" y="54"/>
                  </a:lnTo>
                  <a:lnTo>
                    <a:pt x="1177" y="61"/>
                  </a:lnTo>
                  <a:lnTo>
                    <a:pt x="1177" y="386"/>
                  </a:lnTo>
                  <a:lnTo>
                    <a:pt x="1147" y="374"/>
                  </a:lnTo>
                  <a:lnTo>
                    <a:pt x="1117" y="363"/>
                  </a:lnTo>
                  <a:lnTo>
                    <a:pt x="1088" y="353"/>
                  </a:lnTo>
                  <a:lnTo>
                    <a:pt x="1059" y="344"/>
                  </a:lnTo>
                  <a:lnTo>
                    <a:pt x="1031" y="336"/>
                  </a:lnTo>
                  <a:lnTo>
                    <a:pt x="1003" y="327"/>
                  </a:lnTo>
                  <a:lnTo>
                    <a:pt x="975" y="320"/>
                  </a:lnTo>
                  <a:lnTo>
                    <a:pt x="947" y="314"/>
                  </a:lnTo>
                  <a:lnTo>
                    <a:pt x="920" y="309"/>
                  </a:lnTo>
                  <a:lnTo>
                    <a:pt x="892" y="304"/>
                  </a:lnTo>
                  <a:lnTo>
                    <a:pt x="865" y="300"/>
                  </a:lnTo>
                  <a:lnTo>
                    <a:pt x="838" y="297"/>
                  </a:lnTo>
                  <a:lnTo>
                    <a:pt x="811" y="294"/>
                  </a:lnTo>
                  <a:lnTo>
                    <a:pt x="786" y="292"/>
                  </a:lnTo>
                  <a:lnTo>
                    <a:pt x="759" y="291"/>
                  </a:lnTo>
                  <a:lnTo>
                    <a:pt x="734" y="291"/>
                  </a:lnTo>
                  <a:lnTo>
                    <a:pt x="699" y="292"/>
                  </a:lnTo>
                  <a:lnTo>
                    <a:pt x="667" y="293"/>
                  </a:lnTo>
                  <a:lnTo>
                    <a:pt x="637" y="296"/>
                  </a:lnTo>
                  <a:lnTo>
                    <a:pt x="609" y="301"/>
                  </a:lnTo>
                  <a:lnTo>
                    <a:pt x="583" y="306"/>
                  </a:lnTo>
                  <a:lnTo>
                    <a:pt x="559" y="313"/>
                  </a:lnTo>
                  <a:lnTo>
                    <a:pt x="539" y="321"/>
                  </a:lnTo>
                  <a:lnTo>
                    <a:pt x="520" y="331"/>
                  </a:lnTo>
                  <a:lnTo>
                    <a:pt x="512" y="336"/>
                  </a:lnTo>
                  <a:lnTo>
                    <a:pt x="503" y="341"/>
                  </a:lnTo>
                  <a:lnTo>
                    <a:pt x="495" y="346"/>
                  </a:lnTo>
                  <a:lnTo>
                    <a:pt x="488" y="352"/>
                  </a:lnTo>
                  <a:lnTo>
                    <a:pt x="482" y="359"/>
                  </a:lnTo>
                  <a:lnTo>
                    <a:pt x="476" y="365"/>
                  </a:lnTo>
                  <a:lnTo>
                    <a:pt x="471" y="372"/>
                  </a:lnTo>
                  <a:lnTo>
                    <a:pt x="467" y="380"/>
                  </a:lnTo>
                  <a:lnTo>
                    <a:pt x="463" y="387"/>
                  </a:lnTo>
                  <a:lnTo>
                    <a:pt x="459" y="395"/>
                  </a:lnTo>
                  <a:lnTo>
                    <a:pt x="455" y="403"/>
                  </a:lnTo>
                  <a:lnTo>
                    <a:pt x="453" y="411"/>
                  </a:lnTo>
                  <a:lnTo>
                    <a:pt x="451" y="420"/>
                  </a:lnTo>
                  <a:lnTo>
                    <a:pt x="449" y="430"/>
                  </a:lnTo>
                  <a:lnTo>
                    <a:pt x="448" y="439"/>
                  </a:lnTo>
                  <a:lnTo>
                    <a:pt x="448" y="449"/>
                  </a:lnTo>
                  <a:lnTo>
                    <a:pt x="449" y="463"/>
                  </a:lnTo>
                  <a:lnTo>
                    <a:pt x="452" y="477"/>
                  </a:lnTo>
                  <a:lnTo>
                    <a:pt x="456" y="490"/>
                  </a:lnTo>
                  <a:lnTo>
                    <a:pt x="463" y="502"/>
                  </a:lnTo>
                  <a:lnTo>
                    <a:pt x="471" y="514"/>
                  </a:lnTo>
                  <a:lnTo>
                    <a:pt x="481" y="524"/>
                  </a:lnTo>
                  <a:lnTo>
                    <a:pt x="492" y="536"/>
                  </a:lnTo>
                  <a:lnTo>
                    <a:pt x="506" y="545"/>
                  </a:lnTo>
                  <a:lnTo>
                    <a:pt x="521" y="553"/>
                  </a:lnTo>
                  <a:lnTo>
                    <a:pt x="540" y="564"/>
                  </a:lnTo>
                  <a:lnTo>
                    <a:pt x="565" y="577"/>
                  </a:lnTo>
                  <a:lnTo>
                    <a:pt x="595" y="592"/>
                  </a:lnTo>
                  <a:lnTo>
                    <a:pt x="632" y="608"/>
                  </a:lnTo>
                  <a:lnTo>
                    <a:pt x="673" y="628"/>
                  </a:lnTo>
                  <a:lnTo>
                    <a:pt x="720" y="649"/>
                  </a:lnTo>
                  <a:lnTo>
                    <a:pt x="773" y="672"/>
                  </a:lnTo>
                  <a:lnTo>
                    <a:pt x="846" y="707"/>
                  </a:lnTo>
                  <a:lnTo>
                    <a:pt x="914" y="740"/>
                  </a:lnTo>
                  <a:lnTo>
                    <a:pt x="976" y="771"/>
                  </a:lnTo>
                  <a:lnTo>
                    <a:pt x="1031" y="802"/>
                  </a:lnTo>
                  <a:lnTo>
                    <a:pt x="1056" y="817"/>
                  </a:lnTo>
                  <a:lnTo>
                    <a:pt x="1080" y="832"/>
                  </a:lnTo>
                  <a:lnTo>
                    <a:pt x="1101" y="846"/>
                  </a:lnTo>
                  <a:lnTo>
                    <a:pt x="1122" y="860"/>
                  </a:lnTo>
                  <a:lnTo>
                    <a:pt x="1140" y="875"/>
                  </a:lnTo>
                  <a:lnTo>
                    <a:pt x="1157" y="888"/>
                  </a:lnTo>
                  <a:lnTo>
                    <a:pt x="1173" y="901"/>
                  </a:lnTo>
                  <a:lnTo>
                    <a:pt x="1187" y="913"/>
                  </a:lnTo>
                  <a:lnTo>
                    <a:pt x="1201" y="930"/>
                  </a:lnTo>
                  <a:lnTo>
                    <a:pt x="1215" y="945"/>
                  </a:lnTo>
                  <a:lnTo>
                    <a:pt x="1229" y="962"/>
                  </a:lnTo>
                  <a:lnTo>
                    <a:pt x="1241" y="979"/>
                  </a:lnTo>
                  <a:lnTo>
                    <a:pt x="1251" y="997"/>
                  </a:lnTo>
                  <a:lnTo>
                    <a:pt x="1261" y="1015"/>
                  </a:lnTo>
                  <a:lnTo>
                    <a:pt x="1270" y="1034"/>
                  </a:lnTo>
                  <a:lnTo>
                    <a:pt x="1279" y="1053"/>
                  </a:lnTo>
                  <a:lnTo>
                    <a:pt x="1286" y="1074"/>
                  </a:lnTo>
                  <a:lnTo>
                    <a:pt x="1292" y="1094"/>
                  </a:lnTo>
                  <a:lnTo>
                    <a:pt x="1298" y="1114"/>
                  </a:lnTo>
                  <a:lnTo>
                    <a:pt x="1302" y="1137"/>
                  </a:lnTo>
                  <a:lnTo>
                    <a:pt x="1305" y="1158"/>
                  </a:lnTo>
                  <a:lnTo>
                    <a:pt x="1307" y="1182"/>
                  </a:lnTo>
                  <a:lnTo>
                    <a:pt x="1309" y="1204"/>
                  </a:lnTo>
                  <a:lnTo>
                    <a:pt x="1309" y="1229"/>
                  </a:lnTo>
                  <a:lnTo>
                    <a:pt x="1308" y="1262"/>
                  </a:lnTo>
                  <a:lnTo>
                    <a:pt x="1306" y="1296"/>
                  </a:lnTo>
                  <a:lnTo>
                    <a:pt x="1301" y="1328"/>
                  </a:lnTo>
                  <a:lnTo>
                    <a:pt x="1295" y="1358"/>
                  </a:lnTo>
                  <a:lnTo>
                    <a:pt x="1291" y="1374"/>
                  </a:lnTo>
                  <a:lnTo>
                    <a:pt x="1286" y="1389"/>
                  </a:lnTo>
                  <a:lnTo>
                    <a:pt x="1282" y="1403"/>
                  </a:lnTo>
                  <a:lnTo>
                    <a:pt x="1276" y="1418"/>
                  </a:lnTo>
                  <a:lnTo>
                    <a:pt x="1270" y="1432"/>
                  </a:lnTo>
                  <a:lnTo>
                    <a:pt x="1263" y="1446"/>
                  </a:lnTo>
                  <a:lnTo>
                    <a:pt x="1257" y="1459"/>
                  </a:lnTo>
                  <a:lnTo>
                    <a:pt x="1250" y="1473"/>
                  </a:lnTo>
                  <a:lnTo>
                    <a:pt x="1242" y="1486"/>
                  </a:lnTo>
                  <a:lnTo>
                    <a:pt x="1234" y="1499"/>
                  </a:lnTo>
                  <a:lnTo>
                    <a:pt x="1225" y="1511"/>
                  </a:lnTo>
                  <a:lnTo>
                    <a:pt x="1216" y="1524"/>
                  </a:lnTo>
                  <a:lnTo>
                    <a:pt x="1206" y="1536"/>
                  </a:lnTo>
                  <a:lnTo>
                    <a:pt x="1196" y="1547"/>
                  </a:lnTo>
                  <a:lnTo>
                    <a:pt x="1186" y="1559"/>
                  </a:lnTo>
                  <a:lnTo>
                    <a:pt x="1175" y="1571"/>
                  </a:lnTo>
                  <a:lnTo>
                    <a:pt x="1151" y="1592"/>
                  </a:lnTo>
                  <a:lnTo>
                    <a:pt x="1126" y="1613"/>
                  </a:lnTo>
                  <a:lnTo>
                    <a:pt x="1099" y="1633"/>
                  </a:lnTo>
                  <a:lnTo>
                    <a:pt x="1069" y="1651"/>
                  </a:lnTo>
                  <a:lnTo>
                    <a:pt x="1045" y="1666"/>
                  </a:lnTo>
                  <a:lnTo>
                    <a:pt x="1018" y="1679"/>
                  </a:lnTo>
                  <a:lnTo>
                    <a:pt x="992" y="1691"/>
                  </a:lnTo>
                  <a:lnTo>
                    <a:pt x="964" y="1703"/>
                  </a:lnTo>
                  <a:lnTo>
                    <a:pt x="936" y="1714"/>
                  </a:lnTo>
                  <a:lnTo>
                    <a:pt x="906" y="1724"/>
                  </a:lnTo>
                  <a:lnTo>
                    <a:pt x="876" y="1732"/>
                  </a:lnTo>
                  <a:lnTo>
                    <a:pt x="845" y="1740"/>
                  </a:lnTo>
                  <a:lnTo>
                    <a:pt x="812" y="1747"/>
                  </a:lnTo>
                  <a:lnTo>
                    <a:pt x="780" y="1752"/>
                  </a:lnTo>
                  <a:lnTo>
                    <a:pt x="746" y="1757"/>
                  </a:lnTo>
                  <a:lnTo>
                    <a:pt x="710" y="1762"/>
                  </a:lnTo>
                  <a:lnTo>
                    <a:pt x="675" y="1766"/>
                  </a:lnTo>
                  <a:lnTo>
                    <a:pt x="639" y="1768"/>
                  </a:lnTo>
                  <a:lnTo>
                    <a:pt x="601" y="1769"/>
                  </a:lnTo>
                  <a:lnTo>
                    <a:pt x="563" y="1770"/>
                  </a:lnTo>
                  <a:lnTo>
                    <a:pt x="497" y="1769"/>
                  </a:lnTo>
                  <a:lnTo>
                    <a:pt x="431" y="1766"/>
                  </a:lnTo>
                  <a:lnTo>
                    <a:pt x="365" y="1761"/>
                  </a:lnTo>
                  <a:lnTo>
                    <a:pt x="299" y="1754"/>
                  </a:lnTo>
                  <a:lnTo>
                    <a:pt x="233" y="1745"/>
                  </a:lnTo>
                  <a:lnTo>
                    <a:pt x="167" y="1735"/>
                  </a:lnTo>
                  <a:lnTo>
                    <a:pt x="100" y="1722"/>
                  </a:lnTo>
                  <a:lnTo>
                    <a:pt x="34" y="1707"/>
                  </a:lnTo>
                  <a:close/>
                </a:path>
              </a:pathLst>
            </a:custGeom>
            <a:solidFill>
              <a:srgbClr val="00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/>
            </a:p>
          </p:txBody>
        </p:sp>
      </p:grp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custDataLst>
      <p:custData r:id="rId1"/>
    </p:custDataLst>
    <p:extLst>
      <p:ext uri="{BB962C8B-B14F-4D97-AF65-F5344CB8AC3E}">
        <p14:creationId xmlns:p14="http://schemas.microsoft.com/office/powerpoint/2010/main" val="33660349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0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5.xml"/><Relationship Id="rId42" Type="http://schemas.openxmlformats.org/officeDocument/2006/relationships/tags" Target="../tags/tag13.xml"/><Relationship Id="rId47" Type="http://schemas.openxmlformats.org/officeDocument/2006/relationships/tags" Target="../tags/tag18.xml"/><Relationship Id="rId50" Type="http://schemas.openxmlformats.org/officeDocument/2006/relationships/tags" Target="../tags/tag21.xml"/><Relationship Id="rId55" Type="http://schemas.openxmlformats.org/officeDocument/2006/relationships/tags" Target="../tags/tag26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4.xml"/><Relationship Id="rId38" Type="http://schemas.openxmlformats.org/officeDocument/2006/relationships/tags" Target="../tags/tag9.xml"/><Relationship Id="rId46" Type="http://schemas.openxmlformats.org/officeDocument/2006/relationships/tags" Target="../tags/tag17.xml"/><Relationship Id="rId59" Type="http://schemas.openxmlformats.org/officeDocument/2006/relationships/tags" Target="../tags/tag30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2.xml"/><Relationship Id="rId54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37" Type="http://schemas.openxmlformats.org/officeDocument/2006/relationships/tags" Target="../tags/tag8.xml"/><Relationship Id="rId40" Type="http://schemas.openxmlformats.org/officeDocument/2006/relationships/tags" Target="../tags/tag11.xml"/><Relationship Id="rId45" Type="http://schemas.openxmlformats.org/officeDocument/2006/relationships/tags" Target="../tags/tag16.xml"/><Relationship Id="rId53" Type="http://schemas.openxmlformats.org/officeDocument/2006/relationships/tags" Target="../tags/tag24.xml"/><Relationship Id="rId58" Type="http://schemas.openxmlformats.org/officeDocument/2006/relationships/tags" Target="../tags/tag29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7.xml"/><Relationship Id="rId49" Type="http://schemas.openxmlformats.org/officeDocument/2006/relationships/tags" Target="../tags/tag20.xml"/><Relationship Id="rId57" Type="http://schemas.openxmlformats.org/officeDocument/2006/relationships/tags" Target="../tags/tag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4" Type="http://schemas.openxmlformats.org/officeDocument/2006/relationships/tags" Target="../tags/tag15.xml"/><Relationship Id="rId52" Type="http://schemas.openxmlformats.org/officeDocument/2006/relationships/tags" Target="../tags/tag2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tags" Target="../tags/tag6.xml"/><Relationship Id="rId43" Type="http://schemas.openxmlformats.org/officeDocument/2006/relationships/tags" Target="../tags/tag14.xml"/><Relationship Id="rId48" Type="http://schemas.openxmlformats.org/officeDocument/2006/relationships/tags" Target="../tags/tag19.xml"/><Relationship Id="rId56" Type="http://schemas.openxmlformats.org/officeDocument/2006/relationships/tags" Target="../tags/tag27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22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cdtRectangle 115 Id3078"/>
          <p:cNvSpPr>
            <a:spLocks noGrp="1" noChangeArrowheads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0" y="1"/>
            <a:ext cx="12198350" cy="1448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400" tIns="432000" rIns="2746800" bIns="234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3079" name="cdtRectangle 116 Id3079"/>
          <p:cNvSpPr>
            <a:spLocks noGrp="1" noChangeArrowheads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627063" y="1449388"/>
            <a:ext cx="8208962" cy="47519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  <p:cxnSp>
        <p:nvCxnSpPr>
          <p:cNvPr id="3072" name="cdtMasterTags_CL1 Id3072"/>
          <p:cNvCxnSpPr/>
          <p:nvPr>
            <p:custDataLst>
              <p:tags r:id="rId3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3" name="cdtMasterTags_CL2 Id3073"/>
          <p:cNvCxnSpPr/>
          <p:nvPr>
            <p:custDataLst>
              <p:tags r:id="rId3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4" name="cdtMasterTags_CL3 Id3074"/>
          <p:cNvCxnSpPr/>
          <p:nvPr>
            <p:custDataLst>
              <p:tags r:id="rId3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5" name="cdtMasterTags_CL4 Id3075"/>
          <p:cNvCxnSpPr/>
          <p:nvPr>
            <p:custDataLst>
              <p:tags r:id="rId3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6" name="cdtMasterTags_CL5 Id3076"/>
          <p:cNvCxnSpPr/>
          <p:nvPr>
            <p:custDataLst>
              <p:tags r:id="rId3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77" name="cdtMasterTags_CL6 Id3077"/>
          <p:cNvCxnSpPr/>
          <p:nvPr>
            <p:custDataLst>
              <p:tags r:id="rId3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0" name="cdtMasterTags_CL7 Id3080"/>
          <p:cNvCxnSpPr/>
          <p:nvPr>
            <p:custDataLst>
              <p:tags r:id="rId3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1" name="cdtMasterTags_CL8 Id3081"/>
          <p:cNvCxnSpPr/>
          <p:nvPr>
            <p:custDataLst>
              <p:tags r:id="rId4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2" name="cdtMasterTags_CL9 Id3082"/>
          <p:cNvCxnSpPr/>
          <p:nvPr>
            <p:custDataLst>
              <p:tags r:id="rId4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3" name="cdtMasterTags_CL10 Id3083"/>
          <p:cNvCxnSpPr/>
          <p:nvPr>
            <p:custDataLst>
              <p:tags r:id="rId4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4" name="cdtMasterTags_CL11 Id3084"/>
          <p:cNvCxnSpPr/>
          <p:nvPr>
            <p:custDataLst>
              <p:tags r:id="rId4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5" name="cdtMasterTags_CL12 Id3085"/>
          <p:cNvCxnSpPr/>
          <p:nvPr>
            <p:custDataLst>
              <p:tags r:id="rId4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6" name="cdtMasterTags_CL13 Id3086"/>
          <p:cNvCxnSpPr/>
          <p:nvPr>
            <p:custDataLst>
              <p:tags r:id="rId4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7" name="cdtMasterTags_CL14 Id3087"/>
          <p:cNvCxnSpPr/>
          <p:nvPr>
            <p:custDataLst>
              <p:tags r:id="rId46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8" name="cdtMasterTags_CL15 Id3088"/>
          <p:cNvCxnSpPr/>
          <p:nvPr>
            <p:custDataLst>
              <p:tags r:id="rId47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89" name="cdtMasterTags_CL16 Id3089"/>
          <p:cNvCxnSpPr/>
          <p:nvPr>
            <p:custDataLst>
              <p:tags r:id="rId48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0" name="cdtMasterTags_CL17 Id3090"/>
          <p:cNvCxnSpPr/>
          <p:nvPr>
            <p:custDataLst>
              <p:tags r:id="rId49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1" name="cdtMasterTags_CL18 Id3091"/>
          <p:cNvCxnSpPr/>
          <p:nvPr>
            <p:custDataLst>
              <p:tags r:id="rId50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2" name="cdtMasterTags_CL19 Id3092"/>
          <p:cNvCxnSpPr/>
          <p:nvPr>
            <p:custDataLst>
              <p:tags r:id="rId51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3" name="cdtMasterTags_CL20 Id3093"/>
          <p:cNvCxnSpPr/>
          <p:nvPr>
            <p:custDataLst>
              <p:tags r:id="rId52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4" name="cdtMasterTags_CL21 Id3094"/>
          <p:cNvCxnSpPr/>
          <p:nvPr>
            <p:custDataLst>
              <p:tags r:id="rId53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5" name="cdtMasterTags_CL22 Id3095"/>
          <p:cNvCxnSpPr/>
          <p:nvPr>
            <p:custDataLst>
              <p:tags r:id="rId54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96" name="cdtMasterTags"/>
          <p:cNvCxnSpPr/>
          <p:nvPr>
            <p:custDataLst>
              <p:tags r:id="rId55"/>
            </p:custDataLst>
          </p:nvPr>
        </p:nvCxnSpPr>
        <p:spPr bwMode="auto">
          <a:xfrm>
            <a:off x="0" y="0"/>
            <a:ext cx="0" cy="0"/>
          </a:xfrm>
          <a:prstGeom prst="lin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3" name="cdtText Box 133 Id16"/>
          <p:cNvSpPr txBox="1">
            <a:spLocks noChangeArrowheads="1"/>
          </p:cNvSpPr>
          <p:nvPr>
            <p:custDataLst>
              <p:tags r:id="rId56"/>
            </p:custDataLst>
          </p:nvPr>
        </p:nvSpPr>
        <p:spPr bwMode="auto">
          <a:xfrm>
            <a:off x="0" y="6200774"/>
            <a:ext cx="12198350" cy="396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26400" tIns="144000" rIns="3211200" bIns="0" anchor="ctr"/>
          <a:lstStyle/>
          <a:p>
            <a:r>
              <a:rPr lang="en-US" sz="1000" b="1" dirty="0" smtClean="0">
                <a:solidFill>
                  <a:srgbClr val="879BAA"/>
                </a:solidFill>
              </a:rPr>
              <a:t>Restricted © Siemens AG 2017</a:t>
            </a:r>
            <a:endParaRPr lang="en-US" sz="1000" b="1" dirty="0">
              <a:solidFill>
                <a:srgbClr val="879BAA"/>
              </a:solidFill>
            </a:endParaRPr>
          </a:p>
        </p:txBody>
      </p:sp>
      <p:sp>
        <p:nvSpPr>
          <p:cNvPr id="64" name="cdtTextBox 12 Id17"/>
          <p:cNvSpPr txBox="1"/>
          <p:nvPr>
            <p:custDataLst>
              <p:tags r:id="rId57"/>
            </p:custDataLst>
          </p:nvPr>
        </p:nvSpPr>
        <p:spPr>
          <a:xfrm>
            <a:off x="0" y="6597650"/>
            <a:ext cx="3932230" cy="260350"/>
          </a:xfrm>
          <a:prstGeom prst="rect">
            <a:avLst/>
          </a:prstGeom>
          <a:noFill/>
        </p:spPr>
        <p:txBody>
          <a:bodyPr wrap="square" lIns="1908000" tIns="0" rIns="0" bIns="115200" rtlCol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17.08.2017</a:t>
            </a:r>
          </a:p>
        </p:txBody>
      </p:sp>
      <p:sp>
        <p:nvSpPr>
          <p:cNvPr id="65" name="cdtTextBox 11 Id18"/>
          <p:cNvSpPr txBox="1"/>
          <p:nvPr>
            <p:custDataLst>
              <p:tags r:id="rId58"/>
            </p:custDataLst>
          </p:nvPr>
        </p:nvSpPr>
        <p:spPr>
          <a:xfrm>
            <a:off x="0" y="6597650"/>
            <a:ext cx="1765285" cy="260350"/>
          </a:xfrm>
          <a:prstGeom prst="rect">
            <a:avLst/>
          </a:prstGeom>
          <a:noFill/>
        </p:spPr>
        <p:txBody>
          <a:bodyPr wrap="square" lIns="626400" tIns="0" rIns="0" bIns="115200" rtlCol="0" anchor="t" anchorCtr="0">
            <a:no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de-DE" sz="1000" noProof="0" dirty="0" smtClean="0">
                <a:solidFill>
                  <a:srgbClr val="000000"/>
                </a:solidFill>
              </a:rPr>
              <a:t>Page </a:t>
            </a:r>
            <a:fld id="{91E7552C-A157-4A4F-8E99-698C0325FC94}" type="slidenum">
              <a:rPr lang="de-DE" sz="1000" noProof="0" smtClean="0">
                <a:solidFill>
                  <a:srgbClr val="000000"/>
                </a:solidFill>
              </a:rPr>
              <a:pPr>
                <a:lnSpc>
                  <a:spcPct val="110000"/>
                </a:lnSpc>
                <a:spcBef>
                  <a:spcPts val="0"/>
                </a:spcBef>
              </a:pPr>
              <a:t>‹#›</a:t>
            </a:fld>
            <a:endParaRPr lang="de-DE" sz="1000" noProof="0" dirty="0" smtClean="0">
              <a:solidFill>
                <a:srgbClr val="000000"/>
              </a:solidFill>
            </a:endParaRPr>
          </a:p>
        </p:txBody>
      </p:sp>
      <p:sp>
        <p:nvSpPr>
          <p:cNvPr id="66" name="cdtTextBox 13 Id19"/>
          <p:cNvSpPr txBox="1"/>
          <p:nvPr>
            <p:custDataLst>
              <p:tags r:id="rId59"/>
            </p:custDataLst>
          </p:nvPr>
        </p:nvSpPr>
        <p:spPr>
          <a:xfrm>
            <a:off x="3787765" y="6597650"/>
            <a:ext cx="8410584" cy="260350"/>
          </a:xfrm>
          <a:prstGeom prst="rect">
            <a:avLst/>
          </a:prstGeom>
          <a:noFill/>
        </p:spPr>
        <p:txBody>
          <a:bodyPr wrap="square" lIns="0" tIns="0" rIns="482400" bIns="115200" rtlCol="0">
            <a:noAutofit/>
          </a:bodyPr>
          <a:lstStyle/>
          <a:p>
            <a:pPr algn="r">
              <a:lnSpc>
                <a:spcPct val="110000"/>
              </a:lnSpc>
              <a:spcBef>
                <a:spcPts val="0"/>
              </a:spcBef>
            </a:pPr>
            <a:r>
              <a:rPr lang="en-US" sz="1000" noProof="0" dirty="0" smtClean="0">
                <a:solidFill>
                  <a:srgbClr val="000000"/>
                </a:solidFill>
              </a:rPr>
              <a:t>Jonathan Copley/ SRA Marketing</a:t>
            </a:r>
          </a:p>
        </p:txBody>
      </p:sp>
      <p:grpSp>
        <p:nvGrpSpPr>
          <p:cNvPr id="67" name="Gruppieren 66"/>
          <p:cNvGrpSpPr/>
          <p:nvPr/>
        </p:nvGrpSpPr>
        <p:grpSpPr>
          <a:xfrm>
            <a:off x="-216000" y="-216000"/>
            <a:ext cx="12628800" cy="7290000"/>
            <a:chOff x="-216000" y="-216000"/>
            <a:chExt cx="12628800" cy="7290000"/>
          </a:xfrm>
        </p:grpSpPr>
        <p:cxnSp>
          <p:nvCxnSpPr>
            <p:cNvPr id="68" name="Gerade Verbindung 67"/>
            <p:cNvCxnSpPr/>
            <p:nvPr userDrawn="1"/>
          </p:nvCxnSpPr>
          <p:spPr bwMode="auto">
            <a:xfrm>
              <a:off x="626567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 userDrawn="1"/>
          </p:nvCxnSpPr>
          <p:spPr bwMode="auto">
            <a:xfrm>
              <a:off x="6099175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0" name="Gerade Verbindung 69"/>
            <p:cNvCxnSpPr/>
            <p:nvPr userDrawn="1"/>
          </p:nvCxnSpPr>
          <p:spPr bwMode="auto">
            <a:xfrm>
              <a:off x="6243191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1" name="Gerade Verbindung 70"/>
            <p:cNvCxnSpPr/>
            <p:nvPr userDrawn="1"/>
          </p:nvCxnSpPr>
          <p:spPr bwMode="auto">
            <a:xfrm>
              <a:off x="883547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2" name="Gerade Verbindung 71"/>
            <p:cNvCxnSpPr/>
            <p:nvPr userDrawn="1"/>
          </p:nvCxnSpPr>
          <p:spPr bwMode="auto">
            <a:xfrm>
              <a:off x="11715799" y="-216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3" name="Gerade Verbindung 72"/>
            <p:cNvCxnSpPr/>
            <p:nvPr userDrawn="1"/>
          </p:nvCxnSpPr>
          <p:spPr bwMode="auto">
            <a:xfrm rot="5400000">
              <a:off x="123228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4" name="Gerade Verbindung 73"/>
            <p:cNvCxnSpPr/>
            <p:nvPr userDrawn="1"/>
          </p:nvCxnSpPr>
          <p:spPr bwMode="auto">
            <a:xfrm rot="5400000">
              <a:off x="123228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5" name="Gerade Verbindung 74"/>
            <p:cNvCxnSpPr/>
            <p:nvPr userDrawn="1"/>
          </p:nvCxnSpPr>
          <p:spPr bwMode="auto">
            <a:xfrm rot="5400000">
              <a:off x="123228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6" name="Gerade Verbindung 75"/>
            <p:cNvCxnSpPr/>
            <p:nvPr userDrawn="1"/>
          </p:nvCxnSpPr>
          <p:spPr bwMode="auto">
            <a:xfrm rot="5400000">
              <a:off x="12322800" y="366303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7" name="Gerade Verbindung 76"/>
            <p:cNvCxnSpPr/>
            <p:nvPr userDrawn="1"/>
          </p:nvCxnSpPr>
          <p:spPr bwMode="auto">
            <a:xfrm rot="5400000">
              <a:off x="123228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8" name="Gerade Verbindung 77"/>
            <p:cNvCxnSpPr/>
            <p:nvPr userDrawn="1"/>
          </p:nvCxnSpPr>
          <p:spPr bwMode="auto">
            <a:xfrm rot="5400000">
              <a:off x="123228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79" name="Gerade Verbindung 78"/>
            <p:cNvCxnSpPr/>
            <p:nvPr userDrawn="1"/>
          </p:nvCxnSpPr>
          <p:spPr bwMode="auto">
            <a:xfrm>
              <a:off x="626567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0" name="Gerade Verbindung 79"/>
            <p:cNvCxnSpPr/>
            <p:nvPr userDrawn="1"/>
          </p:nvCxnSpPr>
          <p:spPr bwMode="auto">
            <a:xfrm>
              <a:off x="6099175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1" name="Gerade Verbindung 80"/>
            <p:cNvCxnSpPr/>
            <p:nvPr userDrawn="1"/>
          </p:nvCxnSpPr>
          <p:spPr bwMode="auto">
            <a:xfrm>
              <a:off x="6243191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2" name="Gerade Verbindung 81"/>
            <p:cNvCxnSpPr/>
            <p:nvPr userDrawn="1"/>
          </p:nvCxnSpPr>
          <p:spPr bwMode="auto">
            <a:xfrm>
              <a:off x="883547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3" name="Gerade Verbindung 82"/>
            <p:cNvCxnSpPr/>
            <p:nvPr userDrawn="1"/>
          </p:nvCxnSpPr>
          <p:spPr bwMode="auto">
            <a:xfrm>
              <a:off x="11715799" y="689400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4" name="Gerade Verbindung 83"/>
            <p:cNvCxnSpPr/>
            <p:nvPr userDrawn="1"/>
          </p:nvCxnSpPr>
          <p:spPr bwMode="auto">
            <a:xfrm rot="5400000">
              <a:off x="-126000" y="242656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5" name="Gerade Verbindung 84"/>
            <p:cNvCxnSpPr/>
            <p:nvPr userDrawn="1"/>
          </p:nvCxnSpPr>
          <p:spPr bwMode="auto">
            <a:xfrm rot="5400000">
              <a:off x="-126000" y="9627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6" name="Gerade Verbindung 85"/>
            <p:cNvCxnSpPr/>
            <p:nvPr userDrawn="1"/>
          </p:nvCxnSpPr>
          <p:spPr bwMode="auto">
            <a:xfrm rot="5400000">
              <a:off x="-126000" y="1358780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7" name="Gerade Verbindung 86"/>
            <p:cNvCxnSpPr/>
            <p:nvPr userDrawn="1"/>
          </p:nvCxnSpPr>
          <p:spPr bwMode="auto">
            <a:xfrm rot="5400000">
              <a:off x="-126000" y="3663035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8" name="Gerade Verbindung 87"/>
            <p:cNvCxnSpPr/>
            <p:nvPr userDrawn="1"/>
          </p:nvCxnSpPr>
          <p:spPr bwMode="auto">
            <a:xfrm rot="5400000">
              <a:off x="-126000" y="3807051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89" name="Gerade Verbindung 88"/>
            <p:cNvCxnSpPr/>
            <p:nvPr userDrawn="1"/>
          </p:nvCxnSpPr>
          <p:spPr bwMode="auto">
            <a:xfrm rot="5400000">
              <a:off x="-126000" y="6111308"/>
              <a:ext cx="0" cy="180000"/>
            </a:xfrm>
            <a:prstGeom prst="line">
              <a:avLst/>
            </a:prstGeom>
            <a:solidFill>
              <a:schemeClr val="tx2"/>
            </a:solidFill>
            <a:ln w="31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2" r:id="rId2"/>
    <p:sldLayoutId id="2147483708" r:id="rId3"/>
    <p:sldLayoutId id="2147483709" r:id="rId4"/>
    <p:sldLayoutId id="2147483710" r:id="rId5"/>
    <p:sldLayoutId id="2147483711" r:id="rId6"/>
    <p:sldLayoutId id="2147483703" r:id="rId7"/>
    <p:sldLayoutId id="2147483679" r:id="rId8"/>
    <p:sldLayoutId id="2147483695" r:id="rId9"/>
    <p:sldLayoutId id="2147483705" r:id="rId10"/>
    <p:sldLayoutId id="2147483706" r:id="rId11"/>
    <p:sldLayoutId id="2147483713" r:id="rId12"/>
    <p:sldLayoutId id="2147483712" r:id="rId13"/>
    <p:sldLayoutId id="2147483670" r:id="rId14"/>
    <p:sldLayoutId id="2147483692" r:id="rId15"/>
    <p:sldLayoutId id="2147483696" r:id="rId16"/>
    <p:sldLayoutId id="2147483707" r:id="rId17"/>
    <p:sldLayoutId id="2147483715" r:id="rId18"/>
    <p:sldLayoutId id="2147483683" r:id="rId19"/>
    <p:sldLayoutId id="2147483681" r:id="rId20"/>
    <p:sldLayoutId id="2147483697" r:id="rId21"/>
    <p:sldLayoutId id="2147483691" r:id="rId22"/>
    <p:sldLayoutId id="2147483693" r:id="rId23"/>
    <p:sldLayoutId id="2147483684" r:id="rId24"/>
    <p:sldLayoutId id="2147483685" r:id="rId25"/>
    <p:sldLayoutId id="2147483694" r:id="rId26"/>
    <p:sldLayoutId id="2147483686" r:id="rId27"/>
    <p:sldLayoutId id="2147483688" r:id="rId28"/>
    <p:sldLayoutId id="2147483704" r:id="rId29"/>
  </p:sldLayoutIdLst>
  <p:timing>
    <p:tnLst>
      <p:par>
        <p:cTn id="1" dur="indefinite" restart="never" nodeType="tmRoot"/>
      </p:par>
    </p:tnLst>
  </p:timing>
  <p:hf hdr="0"/>
  <p:txStyles>
    <p:titleStyle>
      <a:lvl1pPr algn="l" rtl="0" fontAlgn="base">
        <a:spcBef>
          <a:spcPct val="0"/>
        </a:spcBef>
        <a:spcAft>
          <a:spcPct val="0"/>
        </a:spcAft>
        <a:defRPr sz="2200" b="1">
          <a:solidFill>
            <a:srgbClr val="00646E"/>
          </a:solidFill>
          <a:latin typeface="Arial" pitchFamily="34" charset="0"/>
          <a:ea typeface="+mj-ea"/>
          <a:cs typeface="Arial" pitchFamily="34" charset="0"/>
        </a:defRPr>
      </a:lvl1pPr>
      <a:lvl2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2pPr>
      <a:lvl3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3pPr>
      <a:lvl4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4pPr>
      <a:lvl5pPr algn="l" rtl="0" fontAlgn="base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ea typeface="ヒラギノ角ゴ Pro W3" charset="0"/>
        </a:defRPr>
      </a:lvl9pPr>
    </p:titleStyle>
    <p:bodyStyle>
      <a:lvl1pPr marL="0" indent="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Arial" pitchFamily="34" charset="0"/>
        <a:buNone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179388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358775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538163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717550" indent="-177800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Char char="•"/>
        <a:tabLst/>
        <a:defRPr baseline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12207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6pPr>
      <a:lvl7pPr marL="16779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7pPr>
      <a:lvl8pPr marL="21351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8pPr>
      <a:lvl9pPr marL="2592388" indent="-188913" algn="l" rtl="0" eaLnBrk="1" fontAlgn="base" hangingPunct="1">
        <a:lnSpc>
          <a:spcPct val="110000"/>
        </a:lnSpc>
        <a:spcBef>
          <a:spcPct val="0"/>
        </a:spcBef>
        <a:spcAft>
          <a:spcPct val="0"/>
        </a:spcAft>
        <a:buClr>
          <a:schemeClr val="accent1"/>
        </a:buClr>
        <a:buFont typeface="Wingdings" charset="0"/>
        <a:buChar char="§"/>
        <a:defRPr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8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image" Target="../media/image8.jpeg"/><Relationship Id="rId7" Type="http://schemas.openxmlformats.org/officeDocument/2006/relationships/image" Target="../media/image12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image" Target="../media/image9.jpeg"/><Relationship Id="rId9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7.png"/><Relationship Id="rId2" Type="http://schemas.openxmlformats.org/officeDocument/2006/relationships/tags" Target="../tags/tag83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20.emf"/><Relationship Id="rId2" Type="http://schemas.openxmlformats.org/officeDocument/2006/relationships/tags" Target="../tags/tag85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7" Type="http://schemas.openxmlformats.org/officeDocument/2006/relationships/image" Target="../media/image20.emf"/><Relationship Id="rId2" Type="http://schemas.openxmlformats.org/officeDocument/2006/relationships/tags" Target="../tags/tag87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8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el 6"/>
          <p:cNvSpPr>
            <a:spLocks noGrp="1"/>
          </p:cNvSpPr>
          <p:nvPr>
            <p:ph type="ctrTitle"/>
          </p:nvPr>
        </p:nvSpPr>
        <p:spPr>
          <a:xfrm>
            <a:off x="627063" y="4308567"/>
            <a:ext cx="5760000" cy="1493928"/>
          </a:xfrm>
        </p:spPr>
        <p:txBody>
          <a:bodyPr/>
          <a:lstStyle/>
          <a:p>
            <a:r>
              <a:rPr lang="ru-RU" dirty="0" smtClean="0"/>
              <a:t>Датчики </a:t>
            </a:r>
            <a:r>
              <a:rPr lang="en-US" dirty="0" err="1" smtClean="0"/>
              <a:t>Symaro</a:t>
            </a:r>
            <a:r>
              <a:rPr lang="en-US" noProof="0" dirty="0" smtClean="0"/>
              <a:t/>
            </a:r>
            <a:br>
              <a:rPr lang="en-US" noProof="0" dirty="0" smtClean="0"/>
            </a:br>
            <a:r>
              <a:rPr lang="en-US" sz="1100" b="0" noProof="0" dirty="0" smtClean="0"/>
              <a:t/>
            </a:r>
            <a:br>
              <a:rPr lang="en-US" sz="1100" b="0" noProof="0" dirty="0" smtClean="0"/>
            </a:br>
            <a:r>
              <a:rPr lang="ru-RU" sz="2200" b="0" dirty="0" smtClean="0"/>
              <a:t>Надежные, точные,  легкие в монтаже</a:t>
            </a:r>
            <a:endParaRPr lang="en-US" sz="2200" b="0" noProof="0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>
          <a:xfrm>
            <a:off x="627063" y="5907600"/>
            <a:ext cx="5760000" cy="324000"/>
          </a:xfrm>
        </p:spPr>
        <p:txBody>
          <a:bodyPr/>
          <a:lstStyle/>
          <a:p>
            <a:r>
              <a:rPr lang="en-US" dirty="0"/>
              <a:t>siemens.com/</a:t>
            </a:r>
            <a:r>
              <a:rPr lang="en-US" dirty="0" err="1"/>
              <a:t>symaro</a:t>
            </a:r>
            <a:endParaRPr lang="en-US" noProof="0" dirty="0"/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noProof="0" dirty="0" smtClean="0"/>
              <a:t>Restricted © Siemens AG 2017</a:t>
            </a:r>
            <a:endParaRPr lang="en-US" noProof="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75017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Grafik 30" descr="027_Symaro_Group_Air_quality.jpg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243638" y="2225675"/>
            <a:ext cx="2668587" cy="1058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59" name="Grafik 29" descr="027_Symaro_Group_humidity.jpg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430588" y="2195513"/>
            <a:ext cx="2668587" cy="1058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0" name="Grafik 28" descr="027_Symaro_Group_Temperature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627063" y="2227263"/>
            <a:ext cx="2668587" cy="10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1" name="Grafik 27" descr="zertifizierte_Fuehler_QFA_QBM_QFM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8108950" y="4533900"/>
            <a:ext cx="3606800" cy="1206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2" name="Grafik 33" descr="027_Flush_mount_family_4_eckig.jpg"/>
          <p:cNvPicPr>
            <a:picLocks noChangeAspect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19125" y="4462463"/>
            <a:ext cx="3598863" cy="1428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3" name="Picture 40" descr="Familienbild Flow Sensors quer2"/>
          <p:cNvPicPr>
            <a:picLocks noChangeAspect="1" noChangeArrowheads="1"/>
          </p:cNvPicPr>
          <p:nvPr/>
        </p:nvPicPr>
        <p:blipFill>
          <a:blip r:embed="rId7"/>
          <a:srcRect l="3690" r="3703"/>
          <a:stretch>
            <a:fillRect/>
          </a:stretch>
        </p:blipFill>
        <p:spPr bwMode="auto">
          <a:xfrm>
            <a:off x="4370388" y="4535488"/>
            <a:ext cx="3600450" cy="987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064" name="Picture 3" descr="Druck_family"/>
          <p:cNvPicPr>
            <a:picLocks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9048750" y="2201863"/>
            <a:ext cx="2667000" cy="1057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65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ru-RU" dirty="0" smtClean="0">
                <a:latin typeface="Arial" charset="0"/>
                <a:cs typeface="Arial" charset="0"/>
              </a:rPr>
              <a:t>Датчики</a:t>
            </a:r>
            <a:endParaRPr lang="de-DE" b="0" dirty="0" smtClean="0">
              <a:latin typeface="Arial" charset="0"/>
              <a:cs typeface="Arial" charset="0"/>
            </a:endParaRPr>
          </a:p>
        </p:txBody>
      </p:sp>
      <p:sp>
        <p:nvSpPr>
          <p:cNvPr id="45066" name="Rectangle 16"/>
          <p:cNvSpPr>
            <a:spLocks noChangeArrowheads="1"/>
          </p:cNvSpPr>
          <p:nvPr/>
        </p:nvSpPr>
        <p:spPr bwMode="auto">
          <a:xfrm>
            <a:off x="627063" y="4535488"/>
            <a:ext cx="3600450" cy="792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endParaRPr lang="en-US" sz="1200">
              <a:solidFill>
                <a:schemeClr val="tx1"/>
              </a:solidFill>
            </a:endParaRPr>
          </a:p>
        </p:txBody>
      </p:sp>
      <p:sp>
        <p:nvSpPr>
          <p:cNvPr id="11" name="Rectangle 13"/>
          <p:cNvSpPr>
            <a:spLocks noChangeArrowheads="1"/>
          </p:cNvSpPr>
          <p:nvPr/>
        </p:nvSpPr>
        <p:spPr bwMode="auto">
          <a:xfrm>
            <a:off x="627063" y="1411288"/>
            <a:ext cx="11088687" cy="360362"/>
          </a:xfrm>
          <a:prstGeom prst="rect">
            <a:avLst/>
          </a:prstGeom>
          <a:solidFill>
            <a:srgbClr val="0F828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 anchor="ctr"/>
          <a:lstStyle/>
          <a:p>
            <a:pPr>
              <a:defRPr/>
            </a:pPr>
            <a:r>
              <a:rPr lang="en-US" sz="1400" b="1" dirty="0">
                <a:solidFill>
                  <a:srgbClr val="FFFFFF"/>
                </a:solidFill>
                <a:cs typeface="Arial" charset="0"/>
              </a:rPr>
              <a:t>Symaro™</a:t>
            </a:r>
            <a:r>
              <a:rPr lang="en-US" sz="1400" b="1" dirty="0" smtClean="0">
                <a:solidFill>
                  <a:srgbClr val="FFFFFF"/>
                </a:solidFill>
                <a:cs typeface="Arial" charset="0"/>
              </a:rPr>
              <a:t>-</a:t>
            </a:r>
            <a:r>
              <a:rPr lang="ru-RU" sz="1400" b="1" dirty="0" smtClean="0">
                <a:solidFill>
                  <a:srgbClr val="FFFFFF"/>
                </a:solidFill>
                <a:cs typeface="Arial" charset="0"/>
              </a:rPr>
              <a:t>Датчики для всех стандартных измерений и приложений </a:t>
            </a:r>
            <a:r>
              <a:rPr lang="en-US" sz="1400" b="1" dirty="0" smtClean="0">
                <a:solidFill>
                  <a:srgbClr val="FFFFFF"/>
                </a:solidFill>
                <a:cs typeface="Arial" charset="0"/>
              </a:rPr>
              <a:t>HVAC</a:t>
            </a:r>
            <a:endParaRPr lang="en-US" sz="14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45068" name="Rectangle 16"/>
          <p:cNvSpPr>
            <a:spLocks noChangeArrowheads="1"/>
          </p:cNvSpPr>
          <p:nvPr/>
        </p:nvSpPr>
        <p:spPr bwMode="auto">
          <a:xfrm>
            <a:off x="627063" y="1866900"/>
            <a:ext cx="2667000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90488" indent="-90488"/>
            <a:r>
              <a:rPr lang="ru-RU" sz="1400" b="1" dirty="0" smtClean="0">
                <a:solidFill>
                  <a:srgbClr val="FFFFFF"/>
                </a:solidFill>
              </a:rPr>
              <a:t>Температура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69" name="Rectangle 16"/>
          <p:cNvSpPr>
            <a:spLocks noChangeArrowheads="1"/>
          </p:cNvSpPr>
          <p:nvPr/>
        </p:nvSpPr>
        <p:spPr bwMode="auto">
          <a:xfrm>
            <a:off x="3433763" y="1866900"/>
            <a:ext cx="2667000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90488" indent="-90488"/>
            <a:r>
              <a:rPr lang="ru-RU" sz="1400" b="1" dirty="0" smtClean="0">
                <a:solidFill>
                  <a:srgbClr val="FFFFFF"/>
                </a:solidFill>
              </a:rPr>
              <a:t>Влажность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70" name="Rectangle 16"/>
          <p:cNvSpPr>
            <a:spLocks noChangeArrowheads="1"/>
          </p:cNvSpPr>
          <p:nvPr/>
        </p:nvSpPr>
        <p:spPr bwMode="auto">
          <a:xfrm>
            <a:off x="6240463" y="1866900"/>
            <a:ext cx="2668587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90488" indent="-90488"/>
            <a:r>
              <a:rPr lang="ru-RU" sz="1400" b="1" dirty="0" smtClean="0">
                <a:solidFill>
                  <a:srgbClr val="FFFFFF"/>
                </a:solidFill>
              </a:rPr>
              <a:t>Качество воздуха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71" name="Rectangle 16"/>
          <p:cNvSpPr>
            <a:spLocks noChangeArrowheads="1"/>
          </p:cNvSpPr>
          <p:nvPr/>
        </p:nvSpPr>
        <p:spPr bwMode="auto">
          <a:xfrm>
            <a:off x="627063" y="4175125"/>
            <a:ext cx="3598862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179388" indent="-179388">
              <a:lnSpc>
                <a:spcPct val="110000"/>
              </a:lnSpc>
              <a:spcBef>
                <a:spcPct val="20000"/>
              </a:spcBef>
            </a:pPr>
            <a:r>
              <a:rPr lang="ru-RU" sz="1400" b="1" dirty="0" smtClean="0">
                <a:solidFill>
                  <a:srgbClr val="FFFFFF"/>
                </a:solidFill>
              </a:rPr>
              <a:t>Встраиваемые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72" name="Rectangle 19"/>
          <p:cNvSpPr>
            <a:spLocks noChangeArrowheads="1"/>
          </p:cNvSpPr>
          <p:nvPr/>
        </p:nvSpPr>
        <p:spPr bwMode="auto">
          <a:xfrm>
            <a:off x="8115300" y="4175125"/>
            <a:ext cx="3600450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179388" indent="-179388">
              <a:lnSpc>
                <a:spcPct val="110000"/>
              </a:lnSpc>
              <a:spcBef>
                <a:spcPct val="20000"/>
              </a:spcBef>
            </a:pPr>
            <a:r>
              <a:rPr lang="ru-RU" sz="1400" b="1" dirty="0" smtClean="0">
                <a:solidFill>
                  <a:srgbClr val="FFFFFF"/>
                </a:solidFill>
              </a:rPr>
              <a:t>Сертифицированные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73" name="Rectangle 16"/>
          <p:cNvSpPr>
            <a:spLocks noChangeArrowheads="1"/>
          </p:cNvSpPr>
          <p:nvPr/>
        </p:nvSpPr>
        <p:spPr bwMode="auto">
          <a:xfrm>
            <a:off x="627063" y="3200400"/>
            <a:ext cx="2667000" cy="852055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</a:pPr>
            <a:r>
              <a:rPr lang="ru-RU" sz="1200" dirty="0" smtClean="0">
                <a:solidFill>
                  <a:schemeClr val="tx1"/>
                </a:solidFill>
              </a:rPr>
              <a:t>Комнат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Каналь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Погруж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Наруж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Кабельные, Накладные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74" name="Rectangle 16"/>
          <p:cNvSpPr>
            <a:spLocks noChangeArrowheads="1"/>
          </p:cNvSpPr>
          <p:nvPr/>
        </p:nvSpPr>
        <p:spPr bwMode="auto">
          <a:xfrm>
            <a:off x="9048750" y="1868488"/>
            <a:ext cx="2667000" cy="360362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90488" indent="-90488"/>
            <a:r>
              <a:rPr lang="ru-RU" sz="1400" b="1" dirty="0" smtClean="0">
                <a:solidFill>
                  <a:srgbClr val="FFFFFF"/>
                </a:solidFill>
              </a:rPr>
              <a:t>Давление</a:t>
            </a:r>
            <a:endParaRPr lang="de-DE" sz="1400" b="1" dirty="0">
              <a:solidFill>
                <a:srgbClr val="FFFFFF"/>
              </a:solidFill>
            </a:endParaRPr>
          </a:p>
        </p:txBody>
      </p:sp>
      <p:sp>
        <p:nvSpPr>
          <p:cNvPr id="45075" name="Rectangle 16"/>
          <p:cNvSpPr>
            <a:spLocks noChangeArrowheads="1"/>
          </p:cNvSpPr>
          <p:nvPr/>
        </p:nvSpPr>
        <p:spPr bwMode="auto">
          <a:xfrm>
            <a:off x="3433763" y="3200400"/>
            <a:ext cx="2667000" cy="852055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</a:pPr>
            <a:r>
              <a:rPr lang="ru-RU" sz="1200" dirty="0" smtClean="0">
                <a:solidFill>
                  <a:schemeClr val="tx1"/>
                </a:solidFill>
              </a:rPr>
              <a:t>Комнат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Канальные</a:t>
            </a:r>
            <a:r>
              <a:rPr lang="en-US" sz="1200" dirty="0" smtClean="0">
                <a:solidFill>
                  <a:schemeClr val="tx1"/>
                </a:solidFill>
              </a:rPr>
              <a:t>,</a:t>
            </a:r>
            <a:r>
              <a:rPr lang="ru-RU" sz="1200" dirty="0" smtClean="0">
                <a:solidFill>
                  <a:schemeClr val="tx1"/>
                </a:solidFill>
              </a:rPr>
              <a:t> Наружные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Точки росы, Гигростаты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76" name="Rectangle 16"/>
          <p:cNvSpPr>
            <a:spLocks noChangeArrowheads="1"/>
          </p:cNvSpPr>
          <p:nvPr/>
        </p:nvSpPr>
        <p:spPr bwMode="auto">
          <a:xfrm>
            <a:off x="6240463" y="3200400"/>
            <a:ext cx="2668587" cy="852055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Комнатные и Канальные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77" name="Rectangle 16"/>
          <p:cNvSpPr>
            <a:spLocks noChangeArrowheads="1"/>
          </p:cNvSpPr>
          <p:nvPr/>
        </p:nvSpPr>
        <p:spPr bwMode="auto">
          <a:xfrm>
            <a:off x="9048750" y="3200400"/>
            <a:ext cx="2667000" cy="852055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Перепад давления и абсолютного давления</a:t>
            </a:r>
            <a:endParaRPr lang="en-US" sz="12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Воздух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Жидкости</a:t>
            </a:r>
            <a:r>
              <a:rPr lang="en-US" sz="1200" dirty="0" smtClean="0">
                <a:solidFill>
                  <a:schemeClr val="tx1"/>
                </a:solidFill>
              </a:rPr>
              <a:t>, </a:t>
            </a:r>
            <a:r>
              <a:rPr lang="ru-RU" sz="1200" dirty="0" smtClean="0">
                <a:solidFill>
                  <a:schemeClr val="tx1"/>
                </a:solidFill>
              </a:rPr>
              <a:t>Газ и хладагенты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78" name="Rectangle 16"/>
          <p:cNvSpPr>
            <a:spLocks noChangeArrowheads="1"/>
          </p:cNvSpPr>
          <p:nvPr/>
        </p:nvSpPr>
        <p:spPr bwMode="auto">
          <a:xfrm>
            <a:off x="627063" y="5503863"/>
            <a:ext cx="3600450" cy="772246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  <a:buClr>
                <a:schemeClr val="bg2"/>
              </a:buClr>
            </a:pPr>
            <a:r>
              <a:rPr lang="ru-RU" sz="1200" dirty="0" smtClean="0">
                <a:solidFill>
                  <a:schemeClr val="tx1"/>
                </a:solidFill>
              </a:rPr>
              <a:t>Датчики для измерения влажности, температуры и качества воздуха в дизайне выключателей </a:t>
            </a:r>
            <a:r>
              <a:rPr lang="en-US" sz="1200" dirty="0" smtClean="0">
                <a:solidFill>
                  <a:schemeClr val="tx1"/>
                </a:solidFill>
              </a:rPr>
              <a:t>DELTA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79" name="Rectangle 16"/>
          <p:cNvSpPr>
            <a:spLocks noChangeArrowheads="1"/>
          </p:cNvSpPr>
          <p:nvPr/>
        </p:nvSpPr>
        <p:spPr bwMode="auto">
          <a:xfrm>
            <a:off x="4371975" y="5503863"/>
            <a:ext cx="3598863" cy="772246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Для специальных приложений</a:t>
            </a:r>
          </a:p>
          <a:p>
            <a:pPr>
              <a:lnSpc>
                <a:spcPct val="90000"/>
              </a:lnSpc>
            </a:pPr>
            <a:r>
              <a:rPr lang="ru-RU" sz="1200" dirty="0" smtClean="0">
                <a:solidFill>
                  <a:schemeClr val="tx1"/>
                </a:solidFill>
              </a:rPr>
              <a:t>Реле потока, скорость движения Воздуха</a:t>
            </a:r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45080" name="Rectangle 16"/>
          <p:cNvSpPr>
            <a:spLocks noChangeArrowheads="1"/>
          </p:cNvSpPr>
          <p:nvPr/>
        </p:nvSpPr>
        <p:spPr bwMode="auto">
          <a:xfrm>
            <a:off x="8115300" y="5503863"/>
            <a:ext cx="3600450" cy="772246"/>
          </a:xfrm>
          <a:prstGeom prst="rect">
            <a:avLst/>
          </a:prstGeom>
          <a:solidFill>
            <a:srgbClr val="E1E1D7"/>
          </a:solidFill>
          <a:ln w="9525">
            <a:noFill/>
            <a:miter lim="800000"/>
            <a:headEnd/>
            <a:tailEnd/>
          </a:ln>
        </p:spPr>
        <p:txBody>
          <a:bodyPr lIns="72000" tIns="36000" rIns="72000" bIns="36000"/>
          <a:lstStyle/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b="1" dirty="0" smtClean="0">
                <a:solidFill>
                  <a:schemeClr val="tx1"/>
                </a:solidFill>
              </a:rPr>
              <a:t>С калибровочным сертификатом</a:t>
            </a:r>
            <a:endParaRPr lang="en-US" sz="1200" b="1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Для фармацевтического производства</a:t>
            </a:r>
            <a:endParaRPr lang="en-US" sz="1200" dirty="0" smtClean="0">
              <a:solidFill>
                <a:schemeClr val="tx1"/>
              </a:solidFill>
            </a:endParaRPr>
          </a:p>
          <a:p>
            <a:pPr>
              <a:lnSpc>
                <a:spcPct val="90000"/>
              </a:lnSpc>
              <a:buFont typeface="Wingdings" pitchFamily="2" charset="2"/>
              <a:buNone/>
            </a:pPr>
            <a:r>
              <a:rPr lang="ru-RU" sz="1200" dirty="0" smtClean="0">
                <a:solidFill>
                  <a:schemeClr val="tx1"/>
                </a:solidFill>
              </a:rPr>
              <a:t>Давления и влажности</a:t>
            </a:r>
            <a:endParaRPr lang="en-US" sz="1200" dirty="0">
              <a:solidFill>
                <a:schemeClr val="tx1"/>
              </a:solidFill>
            </a:endParaRPr>
          </a:p>
        </p:txBody>
      </p:sp>
      <p:pic>
        <p:nvPicPr>
          <p:cNvPr id="45081" name="Picture 73" descr="KNX_Logo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740150" y="4594225"/>
            <a:ext cx="4762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5082" name="Rectangle 16"/>
          <p:cNvSpPr>
            <a:spLocks noChangeArrowheads="1"/>
          </p:cNvSpPr>
          <p:nvPr/>
        </p:nvSpPr>
        <p:spPr bwMode="auto">
          <a:xfrm>
            <a:off x="4370388" y="4175125"/>
            <a:ext cx="3600450" cy="360363"/>
          </a:xfrm>
          <a:prstGeom prst="rect">
            <a:avLst/>
          </a:prstGeom>
          <a:solidFill>
            <a:srgbClr val="32A0A0"/>
          </a:solidFill>
          <a:ln w="9525">
            <a:noFill/>
            <a:miter lim="800000"/>
            <a:headEnd/>
            <a:tailEnd/>
          </a:ln>
        </p:spPr>
        <p:txBody>
          <a:bodyPr lIns="72000" tIns="72000" rIns="72000" bIns="0"/>
          <a:lstStyle/>
          <a:p>
            <a:pPr marL="179388" indent="-179388">
              <a:lnSpc>
                <a:spcPct val="110000"/>
              </a:lnSpc>
              <a:spcBef>
                <a:spcPct val="20000"/>
              </a:spcBef>
            </a:pPr>
            <a:r>
              <a:rPr lang="ru-RU" sz="1400" b="1" dirty="0" smtClean="0">
                <a:solidFill>
                  <a:srgbClr val="FFFFFF"/>
                </a:solidFill>
              </a:rPr>
              <a:t>Реле протока</a:t>
            </a:r>
            <a:endParaRPr lang="de-DE" sz="1400" b="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274179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Picture 2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Датчики </a:t>
            </a:r>
            <a:r>
              <a:rPr lang="en-US" dirty="0" err="1" smtClean="0"/>
              <a:t>Symaro</a:t>
            </a:r>
            <a:r>
              <a:rPr lang="ru-RU" dirty="0" smtClean="0"/>
              <a:t> – простота монтажа</a:t>
            </a:r>
            <a:endParaRPr lang="en-US" dirty="0"/>
          </a:p>
        </p:txBody>
      </p:sp>
      <p:sp>
        <p:nvSpPr>
          <p:cNvPr id="24" name="Rechteck 7"/>
          <p:cNvSpPr/>
          <p:nvPr/>
        </p:nvSpPr>
        <p:spPr>
          <a:xfrm>
            <a:off x="950603" y="1456793"/>
            <a:ext cx="5400600" cy="354042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88000" anchor="ctr">
            <a:noAutofit/>
          </a:bodyPr>
          <a:lstStyle/>
          <a:p>
            <a:pPr eaLnBrk="1" hangingPunct="1"/>
            <a:r>
              <a:rPr lang="en-US" altLang="de-DE" sz="1600" b="1" dirty="0">
                <a:solidFill>
                  <a:schemeClr val="bg1"/>
                </a:solidFill>
              </a:rPr>
              <a:t>1. </a:t>
            </a:r>
            <a:r>
              <a:rPr lang="ru-RU" altLang="de-DE" sz="1600" b="1" dirty="0" smtClean="0">
                <a:solidFill>
                  <a:schemeClr val="bg1"/>
                </a:solidFill>
              </a:rPr>
              <a:t>Встроенная функция теста</a:t>
            </a:r>
            <a:r>
              <a:rPr lang="en-US" altLang="de-DE" sz="1600" b="1" dirty="0" smtClean="0">
                <a:solidFill>
                  <a:schemeClr val="bg1"/>
                </a:solidFill>
              </a:rPr>
              <a:t> (CO</a:t>
            </a:r>
            <a:r>
              <a:rPr lang="en-US" altLang="de-DE" sz="1600" b="1" baseline="-25000" dirty="0" smtClean="0">
                <a:solidFill>
                  <a:schemeClr val="bg1"/>
                </a:solidFill>
              </a:rPr>
              <a:t>2</a:t>
            </a:r>
            <a:r>
              <a:rPr lang="en-US" altLang="de-DE" sz="1600" b="1" dirty="0">
                <a:solidFill>
                  <a:schemeClr val="bg1"/>
                </a:solidFill>
              </a:rPr>
              <a:t>, VOC, T, </a:t>
            </a:r>
            <a:r>
              <a:rPr lang="en-US" altLang="de-DE" sz="1600" b="1" dirty="0" err="1">
                <a:solidFill>
                  <a:schemeClr val="bg1"/>
                </a:solidFill>
              </a:rPr>
              <a:t>r.h</a:t>
            </a:r>
            <a:r>
              <a:rPr lang="en-US" altLang="de-DE" sz="1600" b="1" dirty="0">
                <a:solidFill>
                  <a:schemeClr val="bg1"/>
                </a:solidFill>
              </a:rPr>
              <a:t>.)</a:t>
            </a:r>
          </a:p>
        </p:txBody>
      </p:sp>
      <p:sp>
        <p:nvSpPr>
          <p:cNvPr id="25" name="Rechteck 9"/>
          <p:cNvSpPr/>
          <p:nvPr/>
        </p:nvSpPr>
        <p:spPr>
          <a:xfrm>
            <a:off x="6747247" y="1456793"/>
            <a:ext cx="5256583" cy="344875"/>
          </a:xfrm>
          <a:prstGeom prst="rect">
            <a:avLst/>
          </a:prstGeom>
          <a:gradFill>
            <a:gsLst>
              <a:gs pos="83000">
                <a:srgbClr val="0099B0">
                  <a:alpha val="85000"/>
                </a:srgbClr>
              </a:gs>
              <a:gs pos="50000">
                <a:srgbClr val="009999">
                  <a:alpha val="85000"/>
                </a:srgbClr>
              </a:gs>
              <a:gs pos="0">
                <a:srgbClr val="50BEBE">
                  <a:alpha val="85000"/>
                </a:srgbClr>
              </a:gs>
              <a:gs pos="100000">
                <a:srgbClr val="0099CB">
                  <a:alpha val="85000"/>
                </a:srgbClr>
              </a:gs>
            </a:gsLst>
            <a:lin ang="0" scaled="0"/>
          </a:gradFill>
        </p:spPr>
        <p:txBody>
          <a:bodyPr wrap="square" lIns="288000" anchor="ctr">
            <a:noAutofit/>
          </a:bodyPr>
          <a:lstStyle/>
          <a:p>
            <a:pPr eaLnBrk="1" hangingPunct="1"/>
            <a:r>
              <a:rPr lang="en-US" altLang="de-DE" sz="1600" b="1" dirty="0">
                <a:solidFill>
                  <a:schemeClr val="bg1"/>
                </a:solidFill>
              </a:rPr>
              <a:t>2. </a:t>
            </a:r>
            <a:r>
              <a:rPr lang="ru-RU" altLang="de-DE" sz="1600" b="1" dirty="0" smtClean="0">
                <a:solidFill>
                  <a:schemeClr val="bg1"/>
                </a:solidFill>
              </a:rPr>
              <a:t>Монтаж не зависящий от направления (</a:t>
            </a:r>
            <a:r>
              <a:rPr lang="en-US" altLang="de-DE" sz="1600" b="1" dirty="0" smtClean="0">
                <a:solidFill>
                  <a:schemeClr val="bg1"/>
                </a:solidFill>
              </a:rPr>
              <a:t>CO2)</a:t>
            </a:r>
            <a:r>
              <a:rPr lang="ru-RU" altLang="de-DE" sz="1600" b="1" dirty="0" smtClean="0">
                <a:solidFill>
                  <a:schemeClr val="bg1"/>
                </a:solidFill>
              </a:rPr>
              <a:t> </a:t>
            </a:r>
            <a:endParaRPr lang="en-US" altLang="de-DE" sz="1600" b="1" dirty="0">
              <a:solidFill>
                <a:schemeClr val="bg1"/>
              </a:solidFill>
            </a:endParaRPr>
          </a:p>
        </p:txBody>
      </p:sp>
      <p:grpSp>
        <p:nvGrpSpPr>
          <p:cNvPr id="31" name="Группа 30"/>
          <p:cNvGrpSpPr/>
          <p:nvPr/>
        </p:nvGrpSpPr>
        <p:grpSpPr>
          <a:xfrm>
            <a:off x="7034366" y="2446232"/>
            <a:ext cx="4707799" cy="3431039"/>
            <a:chOff x="592251" y="1655278"/>
            <a:chExt cx="6790442" cy="4499936"/>
          </a:xfrm>
        </p:grpSpPr>
        <p:grpSp>
          <p:nvGrpSpPr>
            <p:cNvPr id="32" name="Gruppieren 439"/>
            <p:cNvGrpSpPr/>
            <p:nvPr/>
          </p:nvGrpSpPr>
          <p:grpSpPr>
            <a:xfrm>
              <a:off x="592251" y="4929753"/>
              <a:ext cx="2921335" cy="978698"/>
              <a:chOff x="1591246" y="1700808"/>
              <a:chExt cx="2921335" cy="1068638"/>
            </a:xfrm>
          </p:grpSpPr>
          <p:grpSp>
            <p:nvGrpSpPr>
              <p:cNvPr id="396" name="Gruppieren 440"/>
              <p:cNvGrpSpPr/>
              <p:nvPr/>
            </p:nvGrpSpPr>
            <p:grpSpPr>
              <a:xfrm>
                <a:off x="289015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401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02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03" name="Freeform 5"/>
                <p:cNvSpPr>
                  <a:spLocks/>
                </p:cNvSpPr>
                <p:nvPr/>
              </p:nvSpPr>
              <p:spPr bwMode="auto">
                <a:xfrm>
                  <a:off x="1311275" y="2924175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04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397" name="Gruppieren 441"/>
              <p:cNvGrpSpPr/>
              <p:nvPr/>
            </p:nvGrpSpPr>
            <p:grpSpPr>
              <a:xfrm>
                <a:off x="159124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398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9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400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33" name="Gruppieren 416"/>
            <p:cNvGrpSpPr/>
            <p:nvPr/>
          </p:nvGrpSpPr>
          <p:grpSpPr>
            <a:xfrm>
              <a:off x="592251" y="3332998"/>
              <a:ext cx="2921335" cy="978698"/>
              <a:chOff x="1591246" y="1700808"/>
              <a:chExt cx="2921335" cy="1068638"/>
            </a:xfrm>
          </p:grpSpPr>
          <p:grpSp>
            <p:nvGrpSpPr>
              <p:cNvPr id="387" name="Gruppieren 417"/>
              <p:cNvGrpSpPr/>
              <p:nvPr/>
            </p:nvGrpSpPr>
            <p:grpSpPr>
              <a:xfrm>
                <a:off x="289015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392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3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4" name="Freeform 5"/>
                <p:cNvSpPr>
                  <a:spLocks/>
                </p:cNvSpPr>
                <p:nvPr/>
              </p:nvSpPr>
              <p:spPr bwMode="auto">
                <a:xfrm>
                  <a:off x="1311275" y="2924175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5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388" name="Gruppieren 418"/>
              <p:cNvGrpSpPr/>
              <p:nvPr/>
            </p:nvGrpSpPr>
            <p:grpSpPr>
              <a:xfrm>
                <a:off x="159124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389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0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91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grpSp>
          <p:nvGrpSpPr>
            <p:cNvPr id="34" name="Gruppieren 2"/>
            <p:cNvGrpSpPr/>
            <p:nvPr/>
          </p:nvGrpSpPr>
          <p:grpSpPr>
            <a:xfrm>
              <a:off x="592251" y="1729522"/>
              <a:ext cx="2921335" cy="978698"/>
              <a:chOff x="1591246" y="1700808"/>
              <a:chExt cx="2921335" cy="1068638"/>
            </a:xfrm>
          </p:grpSpPr>
          <p:grpSp>
            <p:nvGrpSpPr>
              <p:cNvPr id="378" name="Gruppieren 23"/>
              <p:cNvGrpSpPr/>
              <p:nvPr/>
            </p:nvGrpSpPr>
            <p:grpSpPr>
              <a:xfrm>
                <a:off x="289015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383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4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5" name="Freeform 5"/>
                <p:cNvSpPr>
                  <a:spLocks/>
                </p:cNvSpPr>
                <p:nvPr/>
              </p:nvSpPr>
              <p:spPr bwMode="auto">
                <a:xfrm>
                  <a:off x="1311275" y="2924175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6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  <p:grpSp>
            <p:nvGrpSpPr>
              <p:cNvPr id="379" name="Gruppieren 43"/>
              <p:cNvGrpSpPr/>
              <p:nvPr/>
            </p:nvGrpSpPr>
            <p:grpSpPr>
              <a:xfrm>
                <a:off x="1591246" y="1700808"/>
                <a:ext cx="1622425" cy="1068638"/>
                <a:chOff x="673100" y="2449262"/>
                <a:chExt cx="1622425" cy="1068638"/>
              </a:xfrm>
            </p:grpSpPr>
            <p:sp>
              <p:nvSpPr>
                <p:cNvPr id="380" name="Freeform 5"/>
                <p:cNvSpPr>
                  <a:spLocks/>
                </p:cNvSpPr>
                <p:nvPr/>
              </p:nvSpPr>
              <p:spPr bwMode="auto">
                <a:xfrm>
                  <a:off x="770583" y="2449262"/>
                  <a:ext cx="936625" cy="593725"/>
                </a:xfrm>
                <a:custGeom>
                  <a:avLst/>
                  <a:gdLst>
                    <a:gd name="T0" fmla="*/ 236 w 257"/>
                    <a:gd name="T1" fmla="*/ 173 h 173"/>
                    <a:gd name="T2" fmla="*/ 23 w 257"/>
                    <a:gd name="T3" fmla="*/ 173 h 173"/>
                    <a:gd name="T4" fmla="*/ 0 w 257"/>
                    <a:gd name="T5" fmla="*/ 87 h 173"/>
                    <a:gd name="T6" fmla="*/ 23 w 257"/>
                    <a:gd name="T7" fmla="*/ 0 h 173"/>
                    <a:gd name="T8" fmla="*/ 236 w 257"/>
                    <a:gd name="T9" fmla="*/ 0 h 173"/>
                    <a:gd name="T10" fmla="*/ 257 w 257"/>
                    <a:gd name="T11" fmla="*/ 87 h 173"/>
                    <a:gd name="T12" fmla="*/ 236 w 257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7" h="173">
                      <a:moveTo>
                        <a:pt x="236" y="173"/>
                      </a:moveTo>
                      <a:cubicBezTo>
                        <a:pt x="23" y="173"/>
                        <a:pt x="23" y="173"/>
                        <a:pt x="23" y="173"/>
                      </a:cubicBezTo>
                      <a:cubicBezTo>
                        <a:pt x="23" y="173"/>
                        <a:pt x="0" y="136"/>
                        <a:pt x="0" y="87"/>
                      </a:cubicBezTo>
                      <a:cubicBezTo>
                        <a:pt x="0" y="37"/>
                        <a:pt x="23" y="0"/>
                        <a:pt x="23" y="0"/>
                      </a:cubicBezTo>
                      <a:cubicBezTo>
                        <a:pt x="236" y="0"/>
                        <a:pt x="236" y="0"/>
                        <a:pt x="236" y="0"/>
                      </a:cubicBezTo>
                      <a:cubicBezTo>
                        <a:pt x="236" y="0"/>
                        <a:pt x="257" y="33"/>
                        <a:pt x="257" y="87"/>
                      </a:cubicBezTo>
                      <a:cubicBezTo>
                        <a:pt x="257" y="141"/>
                        <a:pt x="236" y="173"/>
                        <a:pt x="236" y="173"/>
                      </a:cubicBezTo>
                      <a:close/>
                    </a:path>
                  </a:pathLst>
                </a:cu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1" name="AutoShape 3"/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98500" y="2449513"/>
                  <a:ext cx="1584325" cy="1068387"/>
                </a:xfrm>
                <a:prstGeom prst="rect">
                  <a:avLst/>
                </a:prstGeom>
                <a:noFill/>
                <a:ln>
                  <a:noFill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382" name="Freeform 6"/>
                <p:cNvSpPr>
                  <a:spLocks/>
                </p:cNvSpPr>
                <p:nvPr/>
              </p:nvSpPr>
              <p:spPr bwMode="auto">
                <a:xfrm>
                  <a:off x="673100" y="2449513"/>
                  <a:ext cx="1622425" cy="1068387"/>
                </a:xfrm>
                <a:custGeom>
                  <a:avLst/>
                  <a:gdLst>
                    <a:gd name="T0" fmla="*/ 240 w 263"/>
                    <a:gd name="T1" fmla="*/ 173 h 173"/>
                    <a:gd name="T2" fmla="*/ 27 w 263"/>
                    <a:gd name="T3" fmla="*/ 173 h 173"/>
                    <a:gd name="T4" fmla="*/ 27 w 263"/>
                    <a:gd name="T5" fmla="*/ 87 h 173"/>
                    <a:gd name="T6" fmla="*/ 27 w 263"/>
                    <a:gd name="T7" fmla="*/ 0 h 173"/>
                    <a:gd name="T8" fmla="*/ 240 w 263"/>
                    <a:gd name="T9" fmla="*/ 0 h 173"/>
                    <a:gd name="T10" fmla="*/ 240 w 263"/>
                    <a:gd name="T11" fmla="*/ 87 h 173"/>
                    <a:gd name="T12" fmla="*/ 240 w 263"/>
                    <a:gd name="T13" fmla="*/ 173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63" h="173">
                      <a:moveTo>
                        <a:pt x="240" y="173"/>
                      </a:moveTo>
                      <a:cubicBezTo>
                        <a:pt x="27" y="173"/>
                        <a:pt x="27" y="173"/>
                        <a:pt x="27" y="173"/>
                      </a:cubicBezTo>
                      <a:cubicBezTo>
                        <a:pt x="27" y="173"/>
                        <a:pt x="0" y="138"/>
                        <a:pt x="27" y="87"/>
                      </a:cubicBezTo>
                      <a:cubicBezTo>
                        <a:pt x="52" y="37"/>
                        <a:pt x="27" y="0"/>
                        <a:pt x="27" y="0"/>
                      </a:cubicBezTo>
                      <a:cubicBezTo>
                        <a:pt x="240" y="0"/>
                        <a:pt x="240" y="0"/>
                        <a:pt x="240" y="0"/>
                      </a:cubicBezTo>
                      <a:cubicBezTo>
                        <a:pt x="240" y="0"/>
                        <a:pt x="263" y="34"/>
                        <a:pt x="240" y="87"/>
                      </a:cubicBezTo>
                      <a:cubicBezTo>
                        <a:pt x="217" y="138"/>
                        <a:pt x="240" y="173"/>
                        <a:pt x="240" y="173"/>
                      </a:cubicBezTo>
                      <a:close/>
                    </a:path>
                  </a:pathLst>
                </a:custGeom>
                <a:gradFill>
                  <a:gsLst>
                    <a:gs pos="100000">
                      <a:schemeClr val="accent1">
                        <a:tint val="66000"/>
                        <a:satMod val="160000"/>
                      </a:schemeClr>
                    </a:gs>
                    <a:gs pos="0">
                      <a:schemeClr val="accent1">
                        <a:tint val="66000"/>
                        <a:satMod val="160000"/>
                      </a:schemeClr>
                    </a:gs>
                    <a:gs pos="50000">
                      <a:schemeClr val="accent1">
                        <a:tint val="23500"/>
                        <a:satMod val="160000"/>
                      </a:schemeClr>
                    </a:gs>
                  </a:gsLst>
                  <a:lin ang="5400000" scaled="0"/>
                </a:gra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</p:grpSp>
        </p:grpSp>
        <p:cxnSp>
          <p:nvCxnSpPr>
            <p:cNvPr id="35" name="Gerade Verbindung 9"/>
            <p:cNvCxnSpPr>
              <a:stCxn id="36" idx="2"/>
              <a:endCxn id="46" idx="0"/>
            </p:cNvCxnSpPr>
            <p:nvPr/>
          </p:nvCxnSpPr>
          <p:spPr bwMode="auto">
            <a:xfrm rot="5400000" flipH="1" flipV="1">
              <a:off x="3543618" y="943073"/>
              <a:ext cx="766502" cy="2353979"/>
            </a:xfrm>
            <a:prstGeom prst="bentConnector5">
              <a:avLst>
                <a:gd name="adj1" fmla="val -29824"/>
                <a:gd name="adj2" fmla="val 50974"/>
                <a:gd name="adj3" fmla="val 129824"/>
              </a:avLst>
            </a:prstGeom>
            <a:solidFill>
              <a:schemeClr val="tx2"/>
            </a:solidFill>
            <a:ln w="76200" cap="flat" cmpd="sng" algn="ctr">
              <a:solidFill>
                <a:srgbClr val="78879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6" name="Rechteck 11"/>
            <p:cNvSpPr/>
            <p:nvPr/>
          </p:nvSpPr>
          <p:spPr bwMode="auto">
            <a:xfrm>
              <a:off x="2562742" y="2280362"/>
              <a:ext cx="374275" cy="2229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37" name="Gerade Verbindung 9"/>
            <p:cNvCxnSpPr>
              <a:endCxn id="59" idx="0"/>
            </p:cNvCxnSpPr>
            <p:nvPr/>
          </p:nvCxnSpPr>
          <p:spPr bwMode="auto">
            <a:xfrm flipV="1">
              <a:off x="2892272" y="3289011"/>
              <a:ext cx="2215343" cy="229815"/>
            </a:xfrm>
            <a:prstGeom prst="bentConnector4">
              <a:avLst>
                <a:gd name="adj1" fmla="val 47002"/>
                <a:gd name="adj2" fmla="val 199471"/>
              </a:avLst>
            </a:prstGeom>
            <a:solidFill>
              <a:schemeClr val="tx2"/>
            </a:solidFill>
            <a:ln w="76200" cap="flat" cmpd="sng" algn="ctr">
              <a:solidFill>
                <a:srgbClr val="78879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" name="Rechteck 287"/>
            <p:cNvSpPr/>
            <p:nvPr/>
          </p:nvSpPr>
          <p:spPr bwMode="auto">
            <a:xfrm rot="16200000">
              <a:off x="2593658" y="3567146"/>
              <a:ext cx="374275" cy="2229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cxnSp>
          <p:nvCxnSpPr>
            <p:cNvPr id="39" name="Gerade Verbindung 9"/>
            <p:cNvCxnSpPr/>
            <p:nvPr/>
          </p:nvCxnSpPr>
          <p:spPr bwMode="auto">
            <a:xfrm rot="16200000" flipH="1">
              <a:off x="3677575" y="3632189"/>
              <a:ext cx="204372" cy="2648195"/>
            </a:xfrm>
            <a:prstGeom prst="bentConnector3">
              <a:avLst>
                <a:gd name="adj1" fmla="val -111855"/>
              </a:avLst>
            </a:prstGeom>
            <a:solidFill>
              <a:schemeClr val="tx2"/>
            </a:solidFill>
            <a:ln w="76200" cap="flat" cmpd="sng" algn="ctr">
              <a:solidFill>
                <a:srgbClr val="78879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40" name="Rechteck 384"/>
            <p:cNvSpPr/>
            <p:nvPr/>
          </p:nvSpPr>
          <p:spPr bwMode="auto">
            <a:xfrm rot="10800000">
              <a:off x="2268527" y="4748206"/>
              <a:ext cx="374275" cy="22295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41" name="Group 4"/>
            <p:cNvGrpSpPr>
              <a:grpSpLocks noChangeAspect="1"/>
            </p:cNvGrpSpPr>
            <p:nvPr/>
          </p:nvGrpSpPr>
          <p:grpSpPr bwMode="auto">
            <a:xfrm>
              <a:off x="2155063" y="1655278"/>
              <a:ext cx="893298" cy="866214"/>
              <a:chOff x="2050" y="1164"/>
              <a:chExt cx="2771" cy="2687"/>
            </a:xfrm>
          </p:grpSpPr>
          <p:sp>
            <p:nvSpPr>
              <p:cNvPr id="366" name="Freeform 5"/>
              <p:cNvSpPr>
                <a:spLocks/>
              </p:cNvSpPr>
              <p:nvPr/>
            </p:nvSpPr>
            <p:spPr bwMode="auto">
              <a:xfrm>
                <a:off x="2050" y="1207"/>
                <a:ext cx="519" cy="2118"/>
              </a:xfrm>
              <a:custGeom>
                <a:avLst/>
                <a:gdLst>
                  <a:gd name="T0" fmla="*/ 73 w 73"/>
                  <a:gd name="T1" fmla="*/ 0 h 298"/>
                  <a:gd name="T2" fmla="*/ 0 w 73"/>
                  <a:gd name="T3" fmla="*/ 163 h 298"/>
                  <a:gd name="T4" fmla="*/ 73 w 73"/>
                  <a:gd name="T5" fmla="*/ 291 h 298"/>
                  <a:gd name="T6" fmla="*/ 73 w 73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8">
                    <a:moveTo>
                      <a:pt x="73" y="0"/>
                    </a:moveTo>
                    <a:cubicBezTo>
                      <a:pt x="73" y="0"/>
                      <a:pt x="0" y="5"/>
                      <a:pt x="0" y="163"/>
                    </a:cubicBezTo>
                    <a:cubicBezTo>
                      <a:pt x="0" y="298"/>
                      <a:pt x="73" y="291"/>
                      <a:pt x="73" y="291"/>
                    </a:cubicBez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7" name="Freeform 6"/>
              <p:cNvSpPr>
                <a:spLocks/>
              </p:cNvSpPr>
              <p:nvPr/>
            </p:nvSpPr>
            <p:spPr bwMode="auto">
              <a:xfrm>
                <a:off x="4302" y="1164"/>
                <a:ext cx="519" cy="2118"/>
              </a:xfrm>
              <a:custGeom>
                <a:avLst/>
                <a:gdLst>
                  <a:gd name="T0" fmla="*/ 0 w 73"/>
                  <a:gd name="T1" fmla="*/ 6 h 297"/>
                  <a:gd name="T2" fmla="*/ 73 w 73"/>
                  <a:gd name="T3" fmla="*/ 169 h 297"/>
                  <a:gd name="T4" fmla="*/ 0 w 73"/>
                  <a:gd name="T5" fmla="*/ 297 h 297"/>
                  <a:gd name="T6" fmla="*/ 0 w 73"/>
                  <a:gd name="T7" fmla="*/ 6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7">
                    <a:moveTo>
                      <a:pt x="0" y="6"/>
                    </a:moveTo>
                    <a:cubicBezTo>
                      <a:pt x="0" y="6"/>
                      <a:pt x="73" y="0"/>
                      <a:pt x="73" y="169"/>
                    </a:cubicBezTo>
                    <a:cubicBezTo>
                      <a:pt x="73" y="294"/>
                      <a:pt x="0" y="297"/>
                      <a:pt x="0" y="297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8" name="Freeform 7"/>
              <p:cNvSpPr>
                <a:spLocks/>
              </p:cNvSpPr>
              <p:nvPr/>
            </p:nvSpPr>
            <p:spPr bwMode="auto">
              <a:xfrm>
                <a:off x="2412" y="1207"/>
                <a:ext cx="2071" cy="2075"/>
              </a:xfrm>
              <a:custGeom>
                <a:avLst/>
                <a:gdLst>
                  <a:gd name="T0" fmla="*/ 284 w 284"/>
                  <a:gd name="T1" fmla="*/ 267 h 292"/>
                  <a:gd name="T2" fmla="*/ 259 w 284"/>
                  <a:gd name="T3" fmla="*/ 292 h 292"/>
                  <a:gd name="T4" fmla="*/ 25 w 284"/>
                  <a:gd name="T5" fmla="*/ 292 h 292"/>
                  <a:gd name="T6" fmla="*/ 0 w 284"/>
                  <a:gd name="T7" fmla="*/ 267 h 292"/>
                  <a:gd name="T8" fmla="*/ 0 w 284"/>
                  <a:gd name="T9" fmla="*/ 25 h 292"/>
                  <a:gd name="T10" fmla="*/ 25 w 284"/>
                  <a:gd name="T11" fmla="*/ 0 h 292"/>
                  <a:gd name="T12" fmla="*/ 259 w 284"/>
                  <a:gd name="T13" fmla="*/ 0 h 292"/>
                  <a:gd name="T14" fmla="*/ 284 w 284"/>
                  <a:gd name="T15" fmla="*/ 25 h 292"/>
                  <a:gd name="T16" fmla="*/ 284 w 284"/>
                  <a:gd name="T17" fmla="*/ 26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292">
                    <a:moveTo>
                      <a:pt x="284" y="267"/>
                    </a:moveTo>
                    <a:cubicBezTo>
                      <a:pt x="284" y="281"/>
                      <a:pt x="273" y="292"/>
                      <a:pt x="259" y="292"/>
                    </a:cubicBezTo>
                    <a:cubicBezTo>
                      <a:pt x="25" y="292"/>
                      <a:pt x="25" y="292"/>
                      <a:pt x="25" y="292"/>
                    </a:cubicBezTo>
                    <a:cubicBezTo>
                      <a:pt x="11" y="292"/>
                      <a:pt x="0" y="281"/>
                      <a:pt x="0" y="2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2"/>
                      <a:pt x="11" y="0"/>
                      <a:pt x="25" y="0"/>
                    </a:cubicBezTo>
                    <a:cubicBezTo>
                      <a:pt x="259" y="0"/>
                      <a:pt x="259" y="0"/>
                      <a:pt x="259" y="0"/>
                    </a:cubicBezTo>
                    <a:cubicBezTo>
                      <a:pt x="273" y="0"/>
                      <a:pt x="284" y="12"/>
                      <a:pt x="284" y="25"/>
                    </a:cubicBezTo>
                    <a:lnTo>
                      <a:pt x="284" y="267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9" name="Rectangle 8"/>
              <p:cNvSpPr>
                <a:spLocks noChangeArrowheads="1"/>
              </p:cNvSpPr>
              <p:nvPr/>
            </p:nvSpPr>
            <p:spPr bwMode="auto">
              <a:xfrm>
                <a:off x="2746" y="1975"/>
                <a:ext cx="1386" cy="618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0" name="Oval 9"/>
              <p:cNvSpPr>
                <a:spLocks noChangeArrowheads="1"/>
              </p:cNvSpPr>
              <p:nvPr/>
            </p:nvSpPr>
            <p:spPr bwMode="auto">
              <a:xfrm>
                <a:off x="4224" y="1370"/>
                <a:ext cx="178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1" name="Oval 10"/>
              <p:cNvSpPr>
                <a:spLocks noChangeArrowheads="1"/>
              </p:cNvSpPr>
              <p:nvPr/>
            </p:nvSpPr>
            <p:spPr bwMode="auto">
              <a:xfrm>
                <a:off x="2441" y="1370"/>
                <a:ext cx="177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2" name="Oval 11"/>
              <p:cNvSpPr>
                <a:spLocks noChangeArrowheads="1"/>
              </p:cNvSpPr>
              <p:nvPr/>
            </p:nvSpPr>
            <p:spPr bwMode="auto">
              <a:xfrm>
                <a:off x="4224" y="2970"/>
                <a:ext cx="178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3" name="Oval 12"/>
              <p:cNvSpPr>
                <a:spLocks noChangeArrowheads="1"/>
              </p:cNvSpPr>
              <p:nvPr/>
            </p:nvSpPr>
            <p:spPr bwMode="auto">
              <a:xfrm>
                <a:off x="2441" y="2970"/>
                <a:ext cx="177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4" name="Rectangle 13"/>
              <p:cNvSpPr>
                <a:spLocks noChangeArrowheads="1"/>
              </p:cNvSpPr>
              <p:nvPr/>
            </p:nvSpPr>
            <p:spPr bwMode="auto">
              <a:xfrm>
                <a:off x="3649" y="3282"/>
                <a:ext cx="476" cy="157"/>
              </a:xfrm>
              <a:prstGeom prst="rect">
                <a:avLst/>
              </a:pr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5" name="Freeform 15"/>
              <p:cNvSpPr>
                <a:spLocks/>
              </p:cNvSpPr>
              <p:nvPr/>
            </p:nvSpPr>
            <p:spPr bwMode="auto">
              <a:xfrm>
                <a:off x="3649" y="3695"/>
                <a:ext cx="476" cy="156"/>
              </a:xfrm>
              <a:custGeom>
                <a:avLst/>
                <a:gdLst>
                  <a:gd name="T0" fmla="*/ 60 w 67"/>
                  <a:gd name="T1" fmla="*/ 22 h 22"/>
                  <a:gd name="T2" fmla="*/ 6 w 67"/>
                  <a:gd name="T3" fmla="*/ 22 h 22"/>
                  <a:gd name="T4" fmla="*/ 0 w 67"/>
                  <a:gd name="T5" fmla="*/ 15 h 22"/>
                  <a:gd name="T6" fmla="*/ 0 w 67"/>
                  <a:gd name="T7" fmla="*/ 6 h 22"/>
                  <a:gd name="T8" fmla="*/ 6 w 67"/>
                  <a:gd name="T9" fmla="*/ 0 h 22"/>
                  <a:gd name="T10" fmla="*/ 60 w 67"/>
                  <a:gd name="T11" fmla="*/ 0 h 22"/>
                  <a:gd name="T12" fmla="*/ 67 w 67"/>
                  <a:gd name="T13" fmla="*/ 6 h 22"/>
                  <a:gd name="T14" fmla="*/ 67 w 67"/>
                  <a:gd name="T15" fmla="*/ 15 h 22"/>
                  <a:gd name="T16" fmla="*/ 60 w 67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22">
                    <a:moveTo>
                      <a:pt x="60" y="22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3" y="22"/>
                      <a:pt x="0" y="19"/>
                      <a:pt x="0" y="1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4" y="0"/>
                      <a:pt x="67" y="3"/>
                      <a:pt x="67" y="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7" y="19"/>
                      <a:pt x="64" y="22"/>
                      <a:pt x="60" y="22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6" name="Freeform 16"/>
              <p:cNvSpPr>
                <a:spLocks/>
              </p:cNvSpPr>
              <p:nvPr/>
            </p:nvSpPr>
            <p:spPr bwMode="auto">
              <a:xfrm>
                <a:off x="3549" y="3389"/>
                <a:ext cx="675" cy="405"/>
              </a:xfrm>
              <a:custGeom>
                <a:avLst/>
                <a:gdLst>
                  <a:gd name="T0" fmla="*/ 91 w 95"/>
                  <a:gd name="T1" fmla="*/ 57 h 57"/>
                  <a:gd name="T2" fmla="*/ 4 w 95"/>
                  <a:gd name="T3" fmla="*/ 57 h 57"/>
                  <a:gd name="T4" fmla="*/ 0 w 95"/>
                  <a:gd name="T5" fmla="*/ 53 h 57"/>
                  <a:gd name="T6" fmla="*/ 0 w 95"/>
                  <a:gd name="T7" fmla="*/ 4 h 57"/>
                  <a:gd name="T8" fmla="*/ 4 w 95"/>
                  <a:gd name="T9" fmla="*/ 0 h 57"/>
                  <a:gd name="T10" fmla="*/ 91 w 95"/>
                  <a:gd name="T11" fmla="*/ 0 h 57"/>
                  <a:gd name="T12" fmla="*/ 95 w 95"/>
                  <a:gd name="T13" fmla="*/ 4 h 57"/>
                  <a:gd name="T14" fmla="*/ 95 w 95"/>
                  <a:gd name="T15" fmla="*/ 53 h 57"/>
                  <a:gd name="T16" fmla="*/ 91 w 95"/>
                  <a:gd name="T17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5" h="57">
                    <a:moveTo>
                      <a:pt x="91" y="57"/>
                    </a:moveTo>
                    <a:cubicBezTo>
                      <a:pt x="4" y="57"/>
                      <a:pt x="4" y="57"/>
                      <a:pt x="4" y="57"/>
                    </a:cubicBezTo>
                    <a:cubicBezTo>
                      <a:pt x="2" y="57"/>
                      <a:pt x="0" y="55"/>
                      <a:pt x="0" y="5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3" y="0"/>
                      <a:pt x="95" y="2"/>
                      <a:pt x="95" y="4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5"/>
                      <a:pt x="93" y="57"/>
                      <a:pt x="91" y="57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7" name="Rectangle 17"/>
              <p:cNvSpPr>
                <a:spLocks noChangeArrowheads="1"/>
              </p:cNvSpPr>
              <p:nvPr/>
            </p:nvSpPr>
            <p:spPr bwMode="auto">
              <a:xfrm>
                <a:off x="3627" y="3389"/>
                <a:ext cx="334" cy="405"/>
              </a:xfrm>
              <a:prstGeom prst="rect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42" name="Gruppieren 8"/>
            <p:cNvGrpSpPr/>
            <p:nvPr/>
          </p:nvGrpSpPr>
          <p:grpSpPr>
            <a:xfrm>
              <a:off x="1086867" y="5153036"/>
              <a:ext cx="549508" cy="549508"/>
              <a:chOff x="1086867" y="5153036"/>
              <a:chExt cx="549508" cy="549508"/>
            </a:xfrm>
          </p:grpSpPr>
          <p:sp>
            <p:nvSpPr>
              <p:cNvPr id="364" name="TextBox 250"/>
              <p:cNvSpPr txBox="1"/>
              <p:nvPr/>
            </p:nvSpPr>
            <p:spPr>
              <a:xfrm>
                <a:off x="1159550" y="5283457"/>
                <a:ext cx="423193" cy="288665"/>
              </a:xfrm>
              <a:prstGeom prst="rect">
                <a:avLst/>
              </a:prstGeom>
              <a:noFill/>
            </p:spPr>
            <p:txBody>
              <a:bodyPr wrap="none" lIns="0" tIns="3600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600" dirty="0" smtClean="0">
                    <a:solidFill>
                      <a:srgbClr val="3C464B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180°</a:t>
                </a:r>
              </a:p>
            </p:txBody>
          </p:sp>
          <p:sp>
            <p:nvSpPr>
              <p:cNvPr id="365" name="Bogen 392"/>
              <p:cNvSpPr/>
              <p:nvPr/>
            </p:nvSpPr>
            <p:spPr bwMode="auto">
              <a:xfrm rot="10800000">
                <a:off x="1086867" y="5153036"/>
                <a:ext cx="549508" cy="549508"/>
              </a:xfrm>
              <a:prstGeom prst="arc">
                <a:avLst>
                  <a:gd name="adj1" fmla="val 2918197"/>
                  <a:gd name="adj2" fmla="val 0"/>
                </a:avLst>
              </a:prstGeom>
              <a:noFill/>
              <a:ln w="19050" cap="flat" cmpd="sng" algn="ctr">
                <a:solidFill>
                  <a:srgbClr val="3C464B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  <a:ea typeface="ヒラギノ角ゴ Pro W3" charset="0"/>
                </a:endParaRPr>
              </a:p>
            </p:txBody>
          </p:sp>
        </p:grpSp>
        <p:grpSp>
          <p:nvGrpSpPr>
            <p:cNvPr id="43" name="Gruppieren 7"/>
            <p:cNvGrpSpPr/>
            <p:nvPr/>
          </p:nvGrpSpPr>
          <p:grpSpPr>
            <a:xfrm>
              <a:off x="1086867" y="3548576"/>
              <a:ext cx="549508" cy="549508"/>
              <a:chOff x="1086867" y="3548576"/>
              <a:chExt cx="549508" cy="549508"/>
            </a:xfrm>
          </p:grpSpPr>
          <p:sp>
            <p:nvSpPr>
              <p:cNvPr id="362" name="TextBox 250"/>
              <p:cNvSpPr txBox="1"/>
              <p:nvPr/>
            </p:nvSpPr>
            <p:spPr>
              <a:xfrm>
                <a:off x="1227892" y="3667424"/>
                <a:ext cx="309379" cy="288665"/>
              </a:xfrm>
              <a:prstGeom prst="rect">
                <a:avLst/>
              </a:prstGeom>
              <a:noFill/>
            </p:spPr>
            <p:txBody>
              <a:bodyPr wrap="none" lIns="0" tIns="3600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600" dirty="0" smtClean="0">
                    <a:solidFill>
                      <a:srgbClr val="3C464B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90°</a:t>
                </a:r>
              </a:p>
            </p:txBody>
          </p:sp>
          <p:sp>
            <p:nvSpPr>
              <p:cNvPr id="363" name="Bogen 393"/>
              <p:cNvSpPr/>
              <p:nvPr/>
            </p:nvSpPr>
            <p:spPr bwMode="auto">
              <a:xfrm rot="5400000">
                <a:off x="1086867" y="3548576"/>
                <a:ext cx="549508" cy="549508"/>
              </a:xfrm>
              <a:prstGeom prst="arc">
                <a:avLst>
                  <a:gd name="adj1" fmla="val 2918197"/>
                  <a:gd name="adj2" fmla="val 0"/>
                </a:avLst>
              </a:prstGeom>
              <a:noFill/>
              <a:ln w="19050" cap="flat" cmpd="sng" algn="ctr">
                <a:solidFill>
                  <a:srgbClr val="3C464B"/>
                </a:solidFill>
                <a:prstDash val="solid"/>
                <a:round/>
                <a:headEnd type="triangle" w="med" len="med"/>
                <a:tailEnd type="none" w="med" len="med"/>
              </a:ln>
              <a:effectLst/>
              <a:ex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  <a:ea typeface="ヒラギノ角ゴ Pro W3" charset="0"/>
                </a:endParaRPr>
              </a:p>
            </p:txBody>
          </p:sp>
        </p:grpSp>
        <p:grpSp>
          <p:nvGrpSpPr>
            <p:cNvPr id="44" name="Gruppieren 6"/>
            <p:cNvGrpSpPr/>
            <p:nvPr/>
          </p:nvGrpSpPr>
          <p:grpSpPr>
            <a:xfrm>
              <a:off x="1086867" y="1944117"/>
              <a:ext cx="549508" cy="549508"/>
              <a:chOff x="1086867" y="1944117"/>
              <a:chExt cx="549508" cy="549508"/>
            </a:xfrm>
          </p:grpSpPr>
          <p:sp>
            <p:nvSpPr>
              <p:cNvPr id="360" name="TextBox 250"/>
              <p:cNvSpPr txBox="1"/>
              <p:nvPr/>
            </p:nvSpPr>
            <p:spPr>
              <a:xfrm>
                <a:off x="1305113" y="2062965"/>
                <a:ext cx="195566" cy="288665"/>
              </a:xfrm>
              <a:prstGeom prst="rect">
                <a:avLst/>
              </a:prstGeom>
              <a:noFill/>
            </p:spPr>
            <p:txBody>
              <a:bodyPr wrap="none" lIns="0" tIns="36000" rIns="0" bIns="0" rtlCol="0" anchor="ctr">
                <a:spAutoFit/>
              </a:bodyPr>
              <a:lstStyle/>
              <a:p>
                <a:pPr algn="ctr"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600" dirty="0" smtClean="0">
                    <a:solidFill>
                      <a:srgbClr val="3C464B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0°</a:t>
                </a:r>
              </a:p>
            </p:txBody>
          </p:sp>
          <p:sp>
            <p:nvSpPr>
              <p:cNvPr id="361" name="Bogen 394"/>
              <p:cNvSpPr/>
              <p:nvPr/>
            </p:nvSpPr>
            <p:spPr bwMode="auto">
              <a:xfrm>
                <a:off x="1086867" y="1944117"/>
                <a:ext cx="549508" cy="549508"/>
              </a:xfrm>
              <a:prstGeom prst="arc">
                <a:avLst>
                  <a:gd name="adj1" fmla="val 2918197"/>
                  <a:gd name="adj2" fmla="val 0"/>
                </a:avLst>
              </a:prstGeom>
              <a:noFill/>
              <a:ln w="19050" cap="flat" cmpd="sng" algn="ctr">
                <a:solidFill>
                  <a:srgbClr val="3C464B"/>
                </a:solidFill>
                <a:prstDash val="solid"/>
                <a:round/>
                <a:headEnd type="none" w="med" len="med"/>
                <a:tailEnd type="triangle" w="med" len="med"/>
              </a:ln>
              <a:effectLst/>
              <a:extLst/>
            </p:spPr>
            <p:txBody>
              <a:bodyPr vert="horz" wrap="square" lIns="0" tIns="0" rIns="0" bIns="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5000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  <a:ea typeface="ヒラギノ角ゴ Pro W3" charset="0"/>
                </a:endParaRPr>
              </a:p>
            </p:txBody>
          </p:sp>
        </p:grpSp>
        <p:grpSp>
          <p:nvGrpSpPr>
            <p:cNvPr id="45" name="Group 4"/>
            <p:cNvGrpSpPr>
              <a:grpSpLocks noChangeAspect="1"/>
            </p:cNvGrpSpPr>
            <p:nvPr/>
          </p:nvGrpSpPr>
          <p:grpSpPr bwMode="auto">
            <a:xfrm>
              <a:off x="4768619" y="1673563"/>
              <a:ext cx="1866093" cy="1090617"/>
              <a:chOff x="147" y="0"/>
              <a:chExt cx="6336" cy="3703"/>
            </a:xfrm>
          </p:grpSpPr>
          <p:sp>
            <p:nvSpPr>
              <p:cNvPr id="269" name="Freeform 5"/>
              <p:cNvSpPr>
                <a:spLocks/>
              </p:cNvSpPr>
              <p:nvPr/>
            </p:nvSpPr>
            <p:spPr bwMode="auto">
              <a:xfrm>
                <a:off x="147" y="0"/>
                <a:ext cx="6336" cy="3703"/>
              </a:xfrm>
              <a:custGeom>
                <a:avLst/>
                <a:gdLst>
                  <a:gd name="T0" fmla="*/ 1804 w 1833"/>
                  <a:gd name="T1" fmla="*/ 1071 h 1071"/>
                  <a:gd name="T2" fmla="*/ 29 w 1833"/>
                  <a:gd name="T3" fmla="*/ 1071 h 1071"/>
                  <a:gd name="T4" fmla="*/ 0 w 1833"/>
                  <a:gd name="T5" fmla="*/ 1042 h 1071"/>
                  <a:gd name="T6" fmla="*/ 0 w 1833"/>
                  <a:gd name="T7" fmla="*/ 29 h 1071"/>
                  <a:gd name="T8" fmla="*/ 29 w 1833"/>
                  <a:gd name="T9" fmla="*/ 0 h 1071"/>
                  <a:gd name="T10" fmla="*/ 1804 w 1833"/>
                  <a:gd name="T11" fmla="*/ 0 h 1071"/>
                  <a:gd name="T12" fmla="*/ 1833 w 1833"/>
                  <a:gd name="T13" fmla="*/ 29 h 1071"/>
                  <a:gd name="T14" fmla="*/ 1833 w 1833"/>
                  <a:gd name="T15" fmla="*/ 1042 h 1071"/>
                  <a:gd name="T16" fmla="*/ 1804 w 1833"/>
                  <a:gd name="T17" fmla="*/ 1071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33" h="1071">
                    <a:moveTo>
                      <a:pt x="1804" y="1071"/>
                    </a:moveTo>
                    <a:cubicBezTo>
                      <a:pt x="29" y="1071"/>
                      <a:pt x="29" y="1071"/>
                      <a:pt x="29" y="1071"/>
                    </a:cubicBezTo>
                    <a:cubicBezTo>
                      <a:pt x="13" y="1071"/>
                      <a:pt x="0" y="1058"/>
                      <a:pt x="0" y="1042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1804" y="0"/>
                      <a:pt x="1804" y="0"/>
                      <a:pt x="1804" y="0"/>
                    </a:cubicBezTo>
                    <a:cubicBezTo>
                      <a:pt x="1820" y="0"/>
                      <a:pt x="1833" y="13"/>
                      <a:pt x="1833" y="29"/>
                    </a:cubicBezTo>
                    <a:cubicBezTo>
                      <a:pt x="1833" y="1042"/>
                      <a:pt x="1833" y="1042"/>
                      <a:pt x="1833" y="1042"/>
                    </a:cubicBezTo>
                    <a:cubicBezTo>
                      <a:pt x="1833" y="1058"/>
                      <a:pt x="1820" y="1071"/>
                      <a:pt x="1804" y="1071"/>
                    </a:cubicBezTo>
                    <a:close/>
                  </a:path>
                </a:pathLst>
              </a:custGeom>
              <a:solidFill>
                <a:srgbClr val="CDD9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0" name="Rectangle 6"/>
              <p:cNvSpPr>
                <a:spLocks noChangeArrowheads="1"/>
              </p:cNvSpPr>
              <p:nvPr/>
            </p:nvSpPr>
            <p:spPr bwMode="auto">
              <a:xfrm>
                <a:off x="147" y="920"/>
                <a:ext cx="6336" cy="1863"/>
              </a:xfrm>
              <a:prstGeom prst="rect">
                <a:avLst/>
              </a:prstGeom>
              <a:solidFill>
                <a:srgbClr val="EBF0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1" name="Freeform 7"/>
              <p:cNvSpPr>
                <a:spLocks/>
              </p:cNvSpPr>
              <p:nvPr/>
            </p:nvSpPr>
            <p:spPr bwMode="auto">
              <a:xfrm>
                <a:off x="154" y="920"/>
                <a:ext cx="1386" cy="1863"/>
              </a:xfrm>
              <a:custGeom>
                <a:avLst/>
                <a:gdLst>
                  <a:gd name="T0" fmla="*/ 357 w 401"/>
                  <a:gd name="T1" fmla="*/ 282 h 539"/>
                  <a:gd name="T2" fmla="*/ 401 w 401"/>
                  <a:gd name="T3" fmla="*/ 0 h 539"/>
                  <a:gd name="T4" fmla="*/ 0 w 401"/>
                  <a:gd name="T5" fmla="*/ 0 h 539"/>
                  <a:gd name="T6" fmla="*/ 0 w 401"/>
                  <a:gd name="T7" fmla="*/ 539 h 539"/>
                  <a:gd name="T8" fmla="*/ 393 w 401"/>
                  <a:gd name="T9" fmla="*/ 539 h 539"/>
                  <a:gd name="T10" fmla="*/ 357 w 401"/>
                  <a:gd name="T11" fmla="*/ 282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1" h="539">
                    <a:moveTo>
                      <a:pt x="357" y="282"/>
                    </a:moveTo>
                    <a:cubicBezTo>
                      <a:pt x="357" y="180"/>
                      <a:pt x="373" y="84"/>
                      <a:pt x="4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39"/>
                      <a:pt x="0" y="539"/>
                      <a:pt x="0" y="539"/>
                    </a:cubicBezTo>
                    <a:cubicBezTo>
                      <a:pt x="393" y="539"/>
                      <a:pt x="393" y="539"/>
                      <a:pt x="393" y="539"/>
                    </a:cubicBezTo>
                    <a:cubicBezTo>
                      <a:pt x="370" y="461"/>
                      <a:pt x="357" y="374"/>
                      <a:pt x="357" y="282"/>
                    </a:cubicBezTo>
                    <a:close/>
                  </a:path>
                </a:pathLst>
              </a:custGeom>
              <a:solidFill>
                <a:srgbClr val="DFE6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2" name="Rectangle 8"/>
              <p:cNvSpPr>
                <a:spLocks noChangeArrowheads="1"/>
              </p:cNvSpPr>
              <p:nvPr/>
            </p:nvSpPr>
            <p:spPr bwMode="auto">
              <a:xfrm>
                <a:off x="6227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3" name="Rectangle 9"/>
              <p:cNvSpPr>
                <a:spLocks noChangeArrowheads="1"/>
              </p:cNvSpPr>
              <p:nvPr/>
            </p:nvSpPr>
            <p:spPr bwMode="auto">
              <a:xfrm>
                <a:off x="5961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4" name="Rectangle 10"/>
              <p:cNvSpPr>
                <a:spLocks noChangeArrowheads="1"/>
              </p:cNvSpPr>
              <p:nvPr/>
            </p:nvSpPr>
            <p:spPr bwMode="auto">
              <a:xfrm>
                <a:off x="5695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5" name="Rectangle 11"/>
              <p:cNvSpPr>
                <a:spLocks noChangeArrowheads="1"/>
              </p:cNvSpPr>
              <p:nvPr/>
            </p:nvSpPr>
            <p:spPr bwMode="auto">
              <a:xfrm>
                <a:off x="5425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6" name="Rectangle 12"/>
              <p:cNvSpPr>
                <a:spLocks noChangeArrowheads="1"/>
              </p:cNvSpPr>
              <p:nvPr/>
            </p:nvSpPr>
            <p:spPr bwMode="auto">
              <a:xfrm>
                <a:off x="515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7" name="Rectangle 13"/>
              <p:cNvSpPr>
                <a:spLocks noChangeArrowheads="1"/>
              </p:cNvSpPr>
              <p:nvPr/>
            </p:nvSpPr>
            <p:spPr bwMode="auto">
              <a:xfrm>
                <a:off x="488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8" name="Rectangle 14"/>
              <p:cNvSpPr>
                <a:spLocks noChangeArrowheads="1"/>
              </p:cNvSpPr>
              <p:nvPr/>
            </p:nvSpPr>
            <p:spPr bwMode="auto">
              <a:xfrm>
                <a:off x="4623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9" name="Rectangle 15"/>
              <p:cNvSpPr>
                <a:spLocks noChangeArrowheads="1"/>
              </p:cNvSpPr>
              <p:nvPr/>
            </p:nvSpPr>
            <p:spPr bwMode="auto">
              <a:xfrm>
                <a:off x="4354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0" name="Rectangle 16"/>
              <p:cNvSpPr>
                <a:spLocks noChangeArrowheads="1"/>
              </p:cNvSpPr>
              <p:nvPr/>
            </p:nvSpPr>
            <p:spPr bwMode="auto">
              <a:xfrm>
                <a:off x="4088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1" name="Rectangle 17"/>
              <p:cNvSpPr>
                <a:spLocks noChangeArrowheads="1"/>
              </p:cNvSpPr>
              <p:nvPr/>
            </p:nvSpPr>
            <p:spPr bwMode="auto">
              <a:xfrm>
                <a:off x="3821" y="2963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2" name="Rectangle 18"/>
              <p:cNvSpPr>
                <a:spLocks noChangeArrowheads="1"/>
              </p:cNvSpPr>
              <p:nvPr/>
            </p:nvSpPr>
            <p:spPr bwMode="auto">
              <a:xfrm>
                <a:off x="355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3" name="Rectangle 19"/>
              <p:cNvSpPr>
                <a:spLocks noChangeArrowheads="1"/>
              </p:cNvSpPr>
              <p:nvPr/>
            </p:nvSpPr>
            <p:spPr bwMode="auto">
              <a:xfrm>
                <a:off x="3286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4" name="Rectangle 20"/>
              <p:cNvSpPr>
                <a:spLocks noChangeArrowheads="1"/>
              </p:cNvSpPr>
              <p:nvPr/>
            </p:nvSpPr>
            <p:spPr bwMode="auto">
              <a:xfrm>
                <a:off x="3016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5" name="Rectangle 21"/>
              <p:cNvSpPr>
                <a:spLocks noChangeArrowheads="1"/>
              </p:cNvSpPr>
              <p:nvPr/>
            </p:nvSpPr>
            <p:spPr bwMode="auto">
              <a:xfrm>
                <a:off x="275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6" name="Rectangle 22"/>
              <p:cNvSpPr>
                <a:spLocks noChangeArrowheads="1"/>
              </p:cNvSpPr>
              <p:nvPr/>
            </p:nvSpPr>
            <p:spPr bwMode="auto">
              <a:xfrm>
                <a:off x="248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7" name="Rectangle 23"/>
              <p:cNvSpPr>
                <a:spLocks noChangeArrowheads="1"/>
              </p:cNvSpPr>
              <p:nvPr/>
            </p:nvSpPr>
            <p:spPr bwMode="auto">
              <a:xfrm>
                <a:off x="2214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8" name="Rectangle 24"/>
              <p:cNvSpPr>
                <a:spLocks noChangeArrowheads="1"/>
              </p:cNvSpPr>
              <p:nvPr/>
            </p:nvSpPr>
            <p:spPr bwMode="auto">
              <a:xfrm>
                <a:off x="1948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9" name="Rectangle 25"/>
              <p:cNvSpPr>
                <a:spLocks noChangeArrowheads="1"/>
              </p:cNvSpPr>
              <p:nvPr/>
            </p:nvSpPr>
            <p:spPr bwMode="auto">
              <a:xfrm>
                <a:off x="1678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0" name="Rectangle 26"/>
              <p:cNvSpPr>
                <a:spLocks noChangeArrowheads="1"/>
              </p:cNvSpPr>
              <p:nvPr/>
            </p:nvSpPr>
            <p:spPr bwMode="auto">
              <a:xfrm>
                <a:off x="141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1" name="Rectangle 27"/>
              <p:cNvSpPr>
                <a:spLocks noChangeArrowheads="1"/>
              </p:cNvSpPr>
              <p:nvPr/>
            </p:nvSpPr>
            <p:spPr bwMode="auto">
              <a:xfrm>
                <a:off x="1143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2" name="Rectangle 28"/>
              <p:cNvSpPr>
                <a:spLocks noChangeArrowheads="1"/>
              </p:cNvSpPr>
              <p:nvPr/>
            </p:nvSpPr>
            <p:spPr bwMode="auto">
              <a:xfrm>
                <a:off x="608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3" name="Rectangle 29"/>
              <p:cNvSpPr>
                <a:spLocks noChangeArrowheads="1"/>
              </p:cNvSpPr>
              <p:nvPr/>
            </p:nvSpPr>
            <p:spPr bwMode="auto">
              <a:xfrm>
                <a:off x="581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4" name="Rectangle 30"/>
              <p:cNvSpPr>
                <a:spLocks noChangeArrowheads="1"/>
              </p:cNvSpPr>
              <p:nvPr/>
            </p:nvSpPr>
            <p:spPr bwMode="auto">
              <a:xfrm>
                <a:off x="5553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5" name="Rectangle 31"/>
              <p:cNvSpPr>
                <a:spLocks noChangeArrowheads="1"/>
              </p:cNvSpPr>
              <p:nvPr/>
            </p:nvSpPr>
            <p:spPr bwMode="auto">
              <a:xfrm>
                <a:off x="5284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6" name="Rectangle 32"/>
              <p:cNvSpPr>
                <a:spLocks noChangeArrowheads="1"/>
              </p:cNvSpPr>
              <p:nvPr/>
            </p:nvSpPr>
            <p:spPr bwMode="auto">
              <a:xfrm>
                <a:off x="5017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7" name="Rectangle 33"/>
              <p:cNvSpPr>
                <a:spLocks noChangeArrowheads="1"/>
              </p:cNvSpPr>
              <p:nvPr/>
            </p:nvSpPr>
            <p:spPr bwMode="auto">
              <a:xfrm>
                <a:off x="4751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8" name="Rectangle 34"/>
              <p:cNvSpPr>
                <a:spLocks noChangeArrowheads="1"/>
              </p:cNvSpPr>
              <p:nvPr/>
            </p:nvSpPr>
            <p:spPr bwMode="auto">
              <a:xfrm>
                <a:off x="4482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9" name="Rectangle 35"/>
              <p:cNvSpPr>
                <a:spLocks noChangeArrowheads="1"/>
              </p:cNvSpPr>
              <p:nvPr/>
            </p:nvSpPr>
            <p:spPr bwMode="auto">
              <a:xfrm>
                <a:off x="4215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0" name="Rectangle 36"/>
              <p:cNvSpPr>
                <a:spLocks noChangeArrowheads="1"/>
              </p:cNvSpPr>
              <p:nvPr/>
            </p:nvSpPr>
            <p:spPr bwMode="auto">
              <a:xfrm>
                <a:off x="394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1" name="Rectangle 37"/>
              <p:cNvSpPr>
                <a:spLocks noChangeArrowheads="1"/>
              </p:cNvSpPr>
              <p:nvPr/>
            </p:nvSpPr>
            <p:spPr bwMode="auto">
              <a:xfrm>
                <a:off x="3680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2" name="Rectangle 38"/>
              <p:cNvSpPr>
                <a:spLocks noChangeArrowheads="1"/>
              </p:cNvSpPr>
              <p:nvPr/>
            </p:nvSpPr>
            <p:spPr bwMode="auto">
              <a:xfrm>
                <a:off x="341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3" name="Rectangle 39"/>
              <p:cNvSpPr>
                <a:spLocks noChangeArrowheads="1"/>
              </p:cNvSpPr>
              <p:nvPr/>
            </p:nvSpPr>
            <p:spPr bwMode="auto">
              <a:xfrm>
                <a:off x="3144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4" name="Rectangle 40"/>
              <p:cNvSpPr>
                <a:spLocks noChangeArrowheads="1"/>
              </p:cNvSpPr>
              <p:nvPr/>
            </p:nvSpPr>
            <p:spPr bwMode="auto">
              <a:xfrm>
                <a:off x="2878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5" name="Rectangle 41"/>
              <p:cNvSpPr>
                <a:spLocks noChangeArrowheads="1"/>
              </p:cNvSpPr>
              <p:nvPr/>
            </p:nvSpPr>
            <p:spPr bwMode="auto">
              <a:xfrm>
                <a:off x="2608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6" name="Rectangle 42"/>
              <p:cNvSpPr>
                <a:spLocks noChangeArrowheads="1"/>
              </p:cNvSpPr>
              <p:nvPr/>
            </p:nvSpPr>
            <p:spPr bwMode="auto">
              <a:xfrm>
                <a:off x="234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7" name="Rectangle 43"/>
              <p:cNvSpPr>
                <a:spLocks noChangeArrowheads="1"/>
              </p:cNvSpPr>
              <p:nvPr/>
            </p:nvSpPr>
            <p:spPr bwMode="auto">
              <a:xfrm>
                <a:off x="207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8" name="Rectangle 44"/>
              <p:cNvSpPr>
                <a:spLocks noChangeArrowheads="1"/>
              </p:cNvSpPr>
              <p:nvPr/>
            </p:nvSpPr>
            <p:spPr bwMode="auto">
              <a:xfrm>
                <a:off x="180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9" name="Rectangle 45"/>
              <p:cNvSpPr>
                <a:spLocks noChangeArrowheads="1"/>
              </p:cNvSpPr>
              <p:nvPr/>
            </p:nvSpPr>
            <p:spPr bwMode="auto">
              <a:xfrm>
                <a:off x="1537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0" name="Rectangle 46"/>
              <p:cNvSpPr>
                <a:spLocks noChangeArrowheads="1"/>
              </p:cNvSpPr>
              <p:nvPr/>
            </p:nvSpPr>
            <p:spPr bwMode="auto">
              <a:xfrm>
                <a:off x="127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1" name="Rectangle 47"/>
              <p:cNvSpPr>
                <a:spLocks noChangeArrowheads="1"/>
              </p:cNvSpPr>
              <p:nvPr/>
            </p:nvSpPr>
            <p:spPr bwMode="auto">
              <a:xfrm>
                <a:off x="1004" y="3292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2" name="Rectangle 48"/>
              <p:cNvSpPr>
                <a:spLocks noChangeArrowheads="1"/>
              </p:cNvSpPr>
              <p:nvPr/>
            </p:nvSpPr>
            <p:spPr bwMode="auto">
              <a:xfrm>
                <a:off x="5595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3" name="Rectangle 49"/>
              <p:cNvSpPr>
                <a:spLocks noChangeArrowheads="1"/>
              </p:cNvSpPr>
              <p:nvPr/>
            </p:nvSpPr>
            <p:spPr bwMode="auto">
              <a:xfrm>
                <a:off x="5328" y="190"/>
                <a:ext cx="56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4" name="Rectangle 50"/>
              <p:cNvSpPr>
                <a:spLocks noChangeArrowheads="1"/>
              </p:cNvSpPr>
              <p:nvPr/>
            </p:nvSpPr>
            <p:spPr bwMode="auto">
              <a:xfrm>
                <a:off x="505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5" name="Rectangle 51"/>
              <p:cNvSpPr>
                <a:spLocks noChangeArrowheads="1"/>
              </p:cNvSpPr>
              <p:nvPr/>
            </p:nvSpPr>
            <p:spPr bwMode="auto">
              <a:xfrm>
                <a:off x="4793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6" name="Rectangle 52"/>
              <p:cNvSpPr>
                <a:spLocks noChangeArrowheads="1"/>
              </p:cNvSpPr>
              <p:nvPr/>
            </p:nvSpPr>
            <p:spPr bwMode="auto">
              <a:xfrm>
                <a:off x="452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7" name="Rectangle 53"/>
              <p:cNvSpPr>
                <a:spLocks noChangeArrowheads="1"/>
              </p:cNvSpPr>
              <p:nvPr/>
            </p:nvSpPr>
            <p:spPr bwMode="auto">
              <a:xfrm>
                <a:off x="425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8" name="Rectangle 54"/>
              <p:cNvSpPr>
                <a:spLocks noChangeArrowheads="1"/>
              </p:cNvSpPr>
              <p:nvPr/>
            </p:nvSpPr>
            <p:spPr bwMode="auto">
              <a:xfrm>
                <a:off x="398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9" name="Rectangle 55"/>
              <p:cNvSpPr>
                <a:spLocks noChangeArrowheads="1"/>
              </p:cNvSpPr>
              <p:nvPr/>
            </p:nvSpPr>
            <p:spPr bwMode="auto">
              <a:xfrm>
                <a:off x="3721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0" name="Rectangle 56"/>
              <p:cNvSpPr>
                <a:spLocks noChangeArrowheads="1"/>
              </p:cNvSpPr>
              <p:nvPr/>
            </p:nvSpPr>
            <p:spPr bwMode="auto">
              <a:xfrm>
                <a:off x="3455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1" name="Rectangle 57"/>
              <p:cNvSpPr>
                <a:spLocks noChangeArrowheads="1"/>
              </p:cNvSpPr>
              <p:nvPr/>
            </p:nvSpPr>
            <p:spPr bwMode="auto">
              <a:xfrm>
                <a:off x="3185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2" name="Rectangle 58"/>
              <p:cNvSpPr>
                <a:spLocks noChangeArrowheads="1"/>
              </p:cNvSpPr>
              <p:nvPr/>
            </p:nvSpPr>
            <p:spPr bwMode="auto">
              <a:xfrm>
                <a:off x="291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3" name="Rectangle 59"/>
              <p:cNvSpPr>
                <a:spLocks noChangeArrowheads="1"/>
              </p:cNvSpPr>
              <p:nvPr/>
            </p:nvSpPr>
            <p:spPr bwMode="auto">
              <a:xfrm>
                <a:off x="2650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4" name="Rectangle 60"/>
              <p:cNvSpPr>
                <a:spLocks noChangeArrowheads="1"/>
              </p:cNvSpPr>
              <p:nvPr/>
            </p:nvSpPr>
            <p:spPr bwMode="auto">
              <a:xfrm>
                <a:off x="238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5" name="Rectangle 61"/>
              <p:cNvSpPr>
                <a:spLocks noChangeArrowheads="1"/>
              </p:cNvSpPr>
              <p:nvPr/>
            </p:nvSpPr>
            <p:spPr bwMode="auto">
              <a:xfrm>
                <a:off x="2114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6" name="Rectangle 62"/>
              <p:cNvSpPr>
                <a:spLocks noChangeArrowheads="1"/>
              </p:cNvSpPr>
              <p:nvPr/>
            </p:nvSpPr>
            <p:spPr bwMode="auto">
              <a:xfrm>
                <a:off x="1848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7" name="Rectangle 63"/>
              <p:cNvSpPr>
                <a:spLocks noChangeArrowheads="1"/>
              </p:cNvSpPr>
              <p:nvPr/>
            </p:nvSpPr>
            <p:spPr bwMode="auto">
              <a:xfrm>
                <a:off x="1582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8" name="Rectangle 64"/>
              <p:cNvSpPr>
                <a:spLocks noChangeArrowheads="1"/>
              </p:cNvSpPr>
              <p:nvPr/>
            </p:nvSpPr>
            <p:spPr bwMode="auto">
              <a:xfrm>
                <a:off x="1312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9" name="Rectangle 65"/>
              <p:cNvSpPr>
                <a:spLocks noChangeArrowheads="1"/>
              </p:cNvSpPr>
              <p:nvPr/>
            </p:nvSpPr>
            <p:spPr bwMode="auto">
              <a:xfrm>
                <a:off x="1046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0" name="Rectangle 66"/>
              <p:cNvSpPr>
                <a:spLocks noChangeArrowheads="1"/>
              </p:cNvSpPr>
              <p:nvPr/>
            </p:nvSpPr>
            <p:spPr bwMode="auto">
              <a:xfrm>
                <a:off x="776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1" name="Rectangle 67"/>
              <p:cNvSpPr>
                <a:spLocks noChangeArrowheads="1"/>
              </p:cNvSpPr>
              <p:nvPr/>
            </p:nvSpPr>
            <p:spPr bwMode="auto">
              <a:xfrm>
                <a:off x="510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2" name="Rectangle 68"/>
              <p:cNvSpPr>
                <a:spLocks noChangeArrowheads="1"/>
              </p:cNvSpPr>
              <p:nvPr/>
            </p:nvSpPr>
            <p:spPr bwMode="auto">
              <a:xfrm>
                <a:off x="545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3" name="Rectangle 69"/>
              <p:cNvSpPr>
                <a:spLocks noChangeArrowheads="1"/>
              </p:cNvSpPr>
              <p:nvPr/>
            </p:nvSpPr>
            <p:spPr bwMode="auto">
              <a:xfrm>
                <a:off x="5187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4" name="Rectangle 70"/>
              <p:cNvSpPr>
                <a:spLocks noChangeArrowheads="1"/>
              </p:cNvSpPr>
              <p:nvPr/>
            </p:nvSpPr>
            <p:spPr bwMode="auto">
              <a:xfrm>
                <a:off x="491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5" name="Rectangle 71"/>
              <p:cNvSpPr>
                <a:spLocks noChangeArrowheads="1"/>
              </p:cNvSpPr>
              <p:nvPr/>
            </p:nvSpPr>
            <p:spPr bwMode="auto">
              <a:xfrm>
                <a:off x="4651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6" name="Rectangle 72"/>
              <p:cNvSpPr>
                <a:spLocks noChangeArrowheads="1"/>
              </p:cNvSpPr>
              <p:nvPr/>
            </p:nvSpPr>
            <p:spPr bwMode="auto">
              <a:xfrm>
                <a:off x="4385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7" name="Rectangle 73"/>
              <p:cNvSpPr>
                <a:spLocks noChangeArrowheads="1"/>
              </p:cNvSpPr>
              <p:nvPr/>
            </p:nvSpPr>
            <p:spPr bwMode="auto">
              <a:xfrm>
                <a:off x="4115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8" name="Rectangle 74"/>
              <p:cNvSpPr>
                <a:spLocks noChangeArrowheads="1"/>
              </p:cNvSpPr>
              <p:nvPr/>
            </p:nvSpPr>
            <p:spPr bwMode="auto">
              <a:xfrm>
                <a:off x="384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39" name="Rectangle 75"/>
              <p:cNvSpPr>
                <a:spLocks noChangeArrowheads="1"/>
              </p:cNvSpPr>
              <p:nvPr/>
            </p:nvSpPr>
            <p:spPr bwMode="auto">
              <a:xfrm>
                <a:off x="357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0" name="Rectangle 76"/>
              <p:cNvSpPr>
                <a:spLocks noChangeArrowheads="1"/>
              </p:cNvSpPr>
              <p:nvPr/>
            </p:nvSpPr>
            <p:spPr bwMode="auto">
              <a:xfrm>
                <a:off x="331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1" name="Rectangle 77"/>
              <p:cNvSpPr>
                <a:spLocks noChangeArrowheads="1"/>
              </p:cNvSpPr>
              <p:nvPr/>
            </p:nvSpPr>
            <p:spPr bwMode="auto">
              <a:xfrm>
                <a:off x="3044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2" name="Rectangle 78"/>
              <p:cNvSpPr>
                <a:spLocks noChangeArrowheads="1"/>
              </p:cNvSpPr>
              <p:nvPr/>
            </p:nvSpPr>
            <p:spPr bwMode="auto">
              <a:xfrm>
                <a:off x="277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3" name="Rectangle 79"/>
              <p:cNvSpPr>
                <a:spLocks noChangeArrowheads="1"/>
              </p:cNvSpPr>
              <p:nvPr/>
            </p:nvSpPr>
            <p:spPr bwMode="auto">
              <a:xfrm>
                <a:off x="2511" y="519"/>
                <a:ext cx="56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4" name="Rectangle 80"/>
              <p:cNvSpPr>
                <a:spLocks noChangeArrowheads="1"/>
              </p:cNvSpPr>
              <p:nvPr/>
            </p:nvSpPr>
            <p:spPr bwMode="auto">
              <a:xfrm>
                <a:off x="2242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5" name="Rectangle 81"/>
              <p:cNvSpPr>
                <a:spLocks noChangeArrowheads="1"/>
              </p:cNvSpPr>
              <p:nvPr/>
            </p:nvSpPr>
            <p:spPr bwMode="auto">
              <a:xfrm>
                <a:off x="1976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6" name="Rectangle 82"/>
              <p:cNvSpPr>
                <a:spLocks noChangeArrowheads="1"/>
              </p:cNvSpPr>
              <p:nvPr/>
            </p:nvSpPr>
            <p:spPr bwMode="auto">
              <a:xfrm>
                <a:off x="1706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7" name="Rectangle 83"/>
              <p:cNvSpPr>
                <a:spLocks noChangeArrowheads="1"/>
              </p:cNvSpPr>
              <p:nvPr/>
            </p:nvSpPr>
            <p:spPr bwMode="auto">
              <a:xfrm>
                <a:off x="144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8" name="Rectangle 84"/>
              <p:cNvSpPr>
                <a:spLocks noChangeArrowheads="1"/>
              </p:cNvSpPr>
              <p:nvPr/>
            </p:nvSpPr>
            <p:spPr bwMode="auto">
              <a:xfrm>
                <a:off x="117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9" name="Rectangle 85"/>
              <p:cNvSpPr>
                <a:spLocks noChangeArrowheads="1"/>
              </p:cNvSpPr>
              <p:nvPr/>
            </p:nvSpPr>
            <p:spPr bwMode="auto">
              <a:xfrm>
                <a:off x="904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0" name="Rectangle 86"/>
              <p:cNvSpPr>
                <a:spLocks noChangeArrowheads="1"/>
              </p:cNvSpPr>
              <p:nvPr/>
            </p:nvSpPr>
            <p:spPr bwMode="auto">
              <a:xfrm>
                <a:off x="638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1" name="Rectangle 87"/>
              <p:cNvSpPr>
                <a:spLocks noChangeArrowheads="1"/>
              </p:cNvSpPr>
              <p:nvPr/>
            </p:nvSpPr>
            <p:spPr bwMode="auto">
              <a:xfrm>
                <a:off x="368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2" name="Oval 88"/>
              <p:cNvSpPr>
                <a:spLocks noChangeArrowheads="1"/>
              </p:cNvSpPr>
              <p:nvPr/>
            </p:nvSpPr>
            <p:spPr bwMode="auto">
              <a:xfrm>
                <a:off x="334" y="2953"/>
                <a:ext cx="535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3" name="Oval 89"/>
              <p:cNvSpPr>
                <a:spLocks noChangeArrowheads="1"/>
              </p:cNvSpPr>
              <p:nvPr/>
            </p:nvSpPr>
            <p:spPr bwMode="auto">
              <a:xfrm>
                <a:off x="5771" y="187"/>
                <a:ext cx="536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4" name="Rectangle 90"/>
              <p:cNvSpPr>
                <a:spLocks noChangeArrowheads="1"/>
              </p:cNvSpPr>
              <p:nvPr/>
            </p:nvSpPr>
            <p:spPr bwMode="auto">
              <a:xfrm>
                <a:off x="1872" y="1262"/>
                <a:ext cx="1811" cy="1179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5" name="Rectangle 91"/>
              <p:cNvSpPr>
                <a:spLocks noChangeArrowheads="1"/>
              </p:cNvSpPr>
              <p:nvPr/>
            </p:nvSpPr>
            <p:spPr bwMode="auto">
              <a:xfrm>
                <a:off x="465" y="1269"/>
                <a:ext cx="591" cy="553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6" name="Oval 92"/>
              <p:cNvSpPr>
                <a:spLocks noChangeArrowheads="1"/>
              </p:cNvSpPr>
              <p:nvPr/>
            </p:nvSpPr>
            <p:spPr bwMode="auto">
              <a:xfrm>
                <a:off x="5242" y="1418"/>
                <a:ext cx="854" cy="854"/>
              </a:xfrm>
              <a:prstGeom prst="ellipse">
                <a:avLst/>
              </a:prstGeom>
              <a:solidFill>
                <a:srgbClr val="BECD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7" name="Oval 93"/>
              <p:cNvSpPr>
                <a:spLocks noChangeArrowheads="1"/>
              </p:cNvSpPr>
              <p:nvPr/>
            </p:nvSpPr>
            <p:spPr bwMode="auto">
              <a:xfrm>
                <a:off x="5342" y="1518"/>
                <a:ext cx="654" cy="653"/>
              </a:xfrm>
              <a:prstGeom prst="ellipse">
                <a:avLst/>
              </a:prstGeom>
              <a:solidFill>
                <a:srgbClr val="9BAF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8" name="Oval 94"/>
              <p:cNvSpPr>
                <a:spLocks noChangeArrowheads="1"/>
              </p:cNvSpPr>
              <p:nvPr/>
            </p:nvSpPr>
            <p:spPr bwMode="auto">
              <a:xfrm>
                <a:off x="507" y="2202"/>
                <a:ext cx="508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9" name="Oval 95"/>
              <p:cNvSpPr>
                <a:spLocks noChangeArrowheads="1"/>
              </p:cNvSpPr>
              <p:nvPr/>
            </p:nvSpPr>
            <p:spPr bwMode="auto">
              <a:xfrm>
                <a:off x="4782" y="2202"/>
                <a:ext cx="505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6" name="Rechteck 13"/>
            <p:cNvSpPr/>
            <p:nvPr/>
          </p:nvSpPr>
          <p:spPr bwMode="auto">
            <a:xfrm>
              <a:off x="4962561" y="1736812"/>
              <a:ext cx="282595" cy="13734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47" name="Group 4"/>
            <p:cNvGrpSpPr>
              <a:grpSpLocks noChangeAspect="1"/>
            </p:cNvGrpSpPr>
            <p:nvPr/>
          </p:nvGrpSpPr>
          <p:grpSpPr bwMode="auto">
            <a:xfrm>
              <a:off x="4768619" y="3289011"/>
              <a:ext cx="1866093" cy="1090617"/>
              <a:chOff x="147" y="0"/>
              <a:chExt cx="6336" cy="3703"/>
            </a:xfrm>
          </p:grpSpPr>
          <p:sp>
            <p:nvSpPr>
              <p:cNvPr id="178" name="Freeform 5"/>
              <p:cNvSpPr>
                <a:spLocks/>
              </p:cNvSpPr>
              <p:nvPr/>
            </p:nvSpPr>
            <p:spPr bwMode="auto">
              <a:xfrm>
                <a:off x="147" y="0"/>
                <a:ext cx="6336" cy="3703"/>
              </a:xfrm>
              <a:custGeom>
                <a:avLst/>
                <a:gdLst>
                  <a:gd name="T0" fmla="*/ 1804 w 1833"/>
                  <a:gd name="T1" fmla="*/ 1071 h 1071"/>
                  <a:gd name="T2" fmla="*/ 29 w 1833"/>
                  <a:gd name="T3" fmla="*/ 1071 h 1071"/>
                  <a:gd name="T4" fmla="*/ 0 w 1833"/>
                  <a:gd name="T5" fmla="*/ 1042 h 1071"/>
                  <a:gd name="T6" fmla="*/ 0 w 1833"/>
                  <a:gd name="T7" fmla="*/ 29 h 1071"/>
                  <a:gd name="T8" fmla="*/ 29 w 1833"/>
                  <a:gd name="T9" fmla="*/ 0 h 1071"/>
                  <a:gd name="T10" fmla="*/ 1804 w 1833"/>
                  <a:gd name="T11" fmla="*/ 0 h 1071"/>
                  <a:gd name="T12" fmla="*/ 1833 w 1833"/>
                  <a:gd name="T13" fmla="*/ 29 h 1071"/>
                  <a:gd name="T14" fmla="*/ 1833 w 1833"/>
                  <a:gd name="T15" fmla="*/ 1042 h 1071"/>
                  <a:gd name="T16" fmla="*/ 1804 w 1833"/>
                  <a:gd name="T17" fmla="*/ 1071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33" h="1071">
                    <a:moveTo>
                      <a:pt x="1804" y="1071"/>
                    </a:moveTo>
                    <a:cubicBezTo>
                      <a:pt x="29" y="1071"/>
                      <a:pt x="29" y="1071"/>
                      <a:pt x="29" y="1071"/>
                    </a:cubicBezTo>
                    <a:cubicBezTo>
                      <a:pt x="13" y="1071"/>
                      <a:pt x="0" y="1058"/>
                      <a:pt x="0" y="1042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1804" y="0"/>
                      <a:pt x="1804" y="0"/>
                      <a:pt x="1804" y="0"/>
                    </a:cubicBezTo>
                    <a:cubicBezTo>
                      <a:pt x="1820" y="0"/>
                      <a:pt x="1833" y="13"/>
                      <a:pt x="1833" y="29"/>
                    </a:cubicBezTo>
                    <a:cubicBezTo>
                      <a:pt x="1833" y="1042"/>
                      <a:pt x="1833" y="1042"/>
                      <a:pt x="1833" y="1042"/>
                    </a:cubicBezTo>
                    <a:cubicBezTo>
                      <a:pt x="1833" y="1058"/>
                      <a:pt x="1820" y="1071"/>
                      <a:pt x="1804" y="1071"/>
                    </a:cubicBezTo>
                    <a:close/>
                  </a:path>
                </a:pathLst>
              </a:custGeom>
              <a:solidFill>
                <a:srgbClr val="CDD9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9" name="Rectangle 6"/>
              <p:cNvSpPr>
                <a:spLocks noChangeArrowheads="1"/>
              </p:cNvSpPr>
              <p:nvPr/>
            </p:nvSpPr>
            <p:spPr bwMode="auto">
              <a:xfrm>
                <a:off x="147" y="920"/>
                <a:ext cx="6336" cy="1863"/>
              </a:xfrm>
              <a:prstGeom prst="rect">
                <a:avLst/>
              </a:prstGeom>
              <a:solidFill>
                <a:srgbClr val="EBF0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0" name="Freeform 7"/>
              <p:cNvSpPr>
                <a:spLocks/>
              </p:cNvSpPr>
              <p:nvPr/>
            </p:nvSpPr>
            <p:spPr bwMode="auto">
              <a:xfrm>
                <a:off x="154" y="920"/>
                <a:ext cx="1386" cy="1863"/>
              </a:xfrm>
              <a:custGeom>
                <a:avLst/>
                <a:gdLst>
                  <a:gd name="T0" fmla="*/ 357 w 401"/>
                  <a:gd name="T1" fmla="*/ 282 h 539"/>
                  <a:gd name="T2" fmla="*/ 401 w 401"/>
                  <a:gd name="T3" fmla="*/ 0 h 539"/>
                  <a:gd name="T4" fmla="*/ 0 w 401"/>
                  <a:gd name="T5" fmla="*/ 0 h 539"/>
                  <a:gd name="T6" fmla="*/ 0 w 401"/>
                  <a:gd name="T7" fmla="*/ 539 h 539"/>
                  <a:gd name="T8" fmla="*/ 393 w 401"/>
                  <a:gd name="T9" fmla="*/ 539 h 539"/>
                  <a:gd name="T10" fmla="*/ 357 w 401"/>
                  <a:gd name="T11" fmla="*/ 282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1" h="539">
                    <a:moveTo>
                      <a:pt x="357" y="282"/>
                    </a:moveTo>
                    <a:cubicBezTo>
                      <a:pt x="357" y="180"/>
                      <a:pt x="373" y="84"/>
                      <a:pt x="4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39"/>
                      <a:pt x="0" y="539"/>
                      <a:pt x="0" y="539"/>
                    </a:cubicBezTo>
                    <a:cubicBezTo>
                      <a:pt x="393" y="539"/>
                      <a:pt x="393" y="539"/>
                      <a:pt x="393" y="539"/>
                    </a:cubicBezTo>
                    <a:cubicBezTo>
                      <a:pt x="370" y="461"/>
                      <a:pt x="357" y="374"/>
                      <a:pt x="357" y="282"/>
                    </a:cubicBezTo>
                    <a:close/>
                  </a:path>
                </a:pathLst>
              </a:custGeom>
              <a:solidFill>
                <a:srgbClr val="DFE6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1" name="Rectangle 8"/>
              <p:cNvSpPr>
                <a:spLocks noChangeArrowheads="1"/>
              </p:cNvSpPr>
              <p:nvPr/>
            </p:nvSpPr>
            <p:spPr bwMode="auto">
              <a:xfrm>
                <a:off x="6227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2" name="Rectangle 9"/>
              <p:cNvSpPr>
                <a:spLocks noChangeArrowheads="1"/>
              </p:cNvSpPr>
              <p:nvPr/>
            </p:nvSpPr>
            <p:spPr bwMode="auto">
              <a:xfrm>
                <a:off x="5961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3" name="Rectangle 10"/>
              <p:cNvSpPr>
                <a:spLocks noChangeArrowheads="1"/>
              </p:cNvSpPr>
              <p:nvPr/>
            </p:nvSpPr>
            <p:spPr bwMode="auto">
              <a:xfrm>
                <a:off x="5695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4" name="Rectangle 11"/>
              <p:cNvSpPr>
                <a:spLocks noChangeArrowheads="1"/>
              </p:cNvSpPr>
              <p:nvPr/>
            </p:nvSpPr>
            <p:spPr bwMode="auto">
              <a:xfrm>
                <a:off x="5425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5" name="Rectangle 12"/>
              <p:cNvSpPr>
                <a:spLocks noChangeArrowheads="1"/>
              </p:cNvSpPr>
              <p:nvPr/>
            </p:nvSpPr>
            <p:spPr bwMode="auto">
              <a:xfrm>
                <a:off x="515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6" name="Rectangle 13"/>
              <p:cNvSpPr>
                <a:spLocks noChangeArrowheads="1"/>
              </p:cNvSpPr>
              <p:nvPr/>
            </p:nvSpPr>
            <p:spPr bwMode="auto">
              <a:xfrm>
                <a:off x="488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7" name="Rectangle 14"/>
              <p:cNvSpPr>
                <a:spLocks noChangeArrowheads="1"/>
              </p:cNvSpPr>
              <p:nvPr/>
            </p:nvSpPr>
            <p:spPr bwMode="auto">
              <a:xfrm>
                <a:off x="4623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8" name="Rectangle 15"/>
              <p:cNvSpPr>
                <a:spLocks noChangeArrowheads="1"/>
              </p:cNvSpPr>
              <p:nvPr/>
            </p:nvSpPr>
            <p:spPr bwMode="auto">
              <a:xfrm>
                <a:off x="4354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9" name="Rectangle 16"/>
              <p:cNvSpPr>
                <a:spLocks noChangeArrowheads="1"/>
              </p:cNvSpPr>
              <p:nvPr/>
            </p:nvSpPr>
            <p:spPr bwMode="auto">
              <a:xfrm>
                <a:off x="4088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0" name="Rectangle 17"/>
              <p:cNvSpPr>
                <a:spLocks noChangeArrowheads="1"/>
              </p:cNvSpPr>
              <p:nvPr/>
            </p:nvSpPr>
            <p:spPr bwMode="auto">
              <a:xfrm>
                <a:off x="3821" y="2963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1" name="Rectangle 18"/>
              <p:cNvSpPr>
                <a:spLocks noChangeArrowheads="1"/>
              </p:cNvSpPr>
              <p:nvPr/>
            </p:nvSpPr>
            <p:spPr bwMode="auto">
              <a:xfrm>
                <a:off x="355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2" name="Rectangle 19"/>
              <p:cNvSpPr>
                <a:spLocks noChangeArrowheads="1"/>
              </p:cNvSpPr>
              <p:nvPr/>
            </p:nvSpPr>
            <p:spPr bwMode="auto">
              <a:xfrm>
                <a:off x="3286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3" name="Rectangle 20"/>
              <p:cNvSpPr>
                <a:spLocks noChangeArrowheads="1"/>
              </p:cNvSpPr>
              <p:nvPr/>
            </p:nvSpPr>
            <p:spPr bwMode="auto">
              <a:xfrm>
                <a:off x="3016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4" name="Rectangle 21"/>
              <p:cNvSpPr>
                <a:spLocks noChangeArrowheads="1"/>
              </p:cNvSpPr>
              <p:nvPr/>
            </p:nvSpPr>
            <p:spPr bwMode="auto">
              <a:xfrm>
                <a:off x="275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5" name="Rectangle 22"/>
              <p:cNvSpPr>
                <a:spLocks noChangeArrowheads="1"/>
              </p:cNvSpPr>
              <p:nvPr/>
            </p:nvSpPr>
            <p:spPr bwMode="auto">
              <a:xfrm>
                <a:off x="248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6" name="Rectangle 23"/>
              <p:cNvSpPr>
                <a:spLocks noChangeArrowheads="1"/>
              </p:cNvSpPr>
              <p:nvPr/>
            </p:nvSpPr>
            <p:spPr bwMode="auto">
              <a:xfrm>
                <a:off x="2214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7" name="Rectangle 24"/>
              <p:cNvSpPr>
                <a:spLocks noChangeArrowheads="1"/>
              </p:cNvSpPr>
              <p:nvPr/>
            </p:nvSpPr>
            <p:spPr bwMode="auto">
              <a:xfrm>
                <a:off x="1948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8" name="Rectangle 25"/>
              <p:cNvSpPr>
                <a:spLocks noChangeArrowheads="1"/>
              </p:cNvSpPr>
              <p:nvPr/>
            </p:nvSpPr>
            <p:spPr bwMode="auto">
              <a:xfrm>
                <a:off x="1678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9" name="Rectangle 26"/>
              <p:cNvSpPr>
                <a:spLocks noChangeArrowheads="1"/>
              </p:cNvSpPr>
              <p:nvPr/>
            </p:nvSpPr>
            <p:spPr bwMode="auto">
              <a:xfrm>
                <a:off x="141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0" name="Rectangle 27"/>
              <p:cNvSpPr>
                <a:spLocks noChangeArrowheads="1"/>
              </p:cNvSpPr>
              <p:nvPr/>
            </p:nvSpPr>
            <p:spPr bwMode="auto">
              <a:xfrm>
                <a:off x="1143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1" name="Rectangle 28"/>
              <p:cNvSpPr>
                <a:spLocks noChangeArrowheads="1"/>
              </p:cNvSpPr>
              <p:nvPr/>
            </p:nvSpPr>
            <p:spPr bwMode="auto">
              <a:xfrm>
                <a:off x="608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2" name="Rectangle 29"/>
              <p:cNvSpPr>
                <a:spLocks noChangeArrowheads="1"/>
              </p:cNvSpPr>
              <p:nvPr/>
            </p:nvSpPr>
            <p:spPr bwMode="auto">
              <a:xfrm>
                <a:off x="581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3" name="Rectangle 30"/>
              <p:cNvSpPr>
                <a:spLocks noChangeArrowheads="1"/>
              </p:cNvSpPr>
              <p:nvPr/>
            </p:nvSpPr>
            <p:spPr bwMode="auto">
              <a:xfrm>
                <a:off x="5553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4" name="Rectangle 31"/>
              <p:cNvSpPr>
                <a:spLocks noChangeArrowheads="1"/>
              </p:cNvSpPr>
              <p:nvPr/>
            </p:nvSpPr>
            <p:spPr bwMode="auto">
              <a:xfrm>
                <a:off x="5284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5" name="Rectangle 32"/>
              <p:cNvSpPr>
                <a:spLocks noChangeArrowheads="1"/>
              </p:cNvSpPr>
              <p:nvPr/>
            </p:nvSpPr>
            <p:spPr bwMode="auto">
              <a:xfrm>
                <a:off x="5017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6" name="Rectangle 33"/>
              <p:cNvSpPr>
                <a:spLocks noChangeArrowheads="1"/>
              </p:cNvSpPr>
              <p:nvPr/>
            </p:nvSpPr>
            <p:spPr bwMode="auto">
              <a:xfrm>
                <a:off x="4751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7" name="Rectangle 34"/>
              <p:cNvSpPr>
                <a:spLocks noChangeArrowheads="1"/>
              </p:cNvSpPr>
              <p:nvPr/>
            </p:nvSpPr>
            <p:spPr bwMode="auto">
              <a:xfrm>
                <a:off x="4482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8" name="Rectangle 35"/>
              <p:cNvSpPr>
                <a:spLocks noChangeArrowheads="1"/>
              </p:cNvSpPr>
              <p:nvPr/>
            </p:nvSpPr>
            <p:spPr bwMode="auto">
              <a:xfrm>
                <a:off x="4215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9" name="Rectangle 36"/>
              <p:cNvSpPr>
                <a:spLocks noChangeArrowheads="1"/>
              </p:cNvSpPr>
              <p:nvPr/>
            </p:nvSpPr>
            <p:spPr bwMode="auto">
              <a:xfrm>
                <a:off x="394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0" name="Rectangle 37"/>
              <p:cNvSpPr>
                <a:spLocks noChangeArrowheads="1"/>
              </p:cNvSpPr>
              <p:nvPr/>
            </p:nvSpPr>
            <p:spPr bwMode="auto">
              <a:xfrm>
                <a:off x="3680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1" name="Rectangle 38"/>
              <p:cNvSpPr>
                <a:spLocks noChangeArrowheads="1"/>
              </p:cNvSpPr>
              <p:nvPr/>
            </p:nvSpPr>
            <p:spPr bwMode="auto">
              <a:xfrm>
                <a:off x="341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2" name="Rectangle 39"/>
              <p:cNvSpPr>
                <a:spLocks noChangeArrowheads="1"/>
              </p:cNvSpPr>
              <p:nvPr/>
            </p:nvSpPr>
            <p:spPr bwMode="auto">
              <a:xfrm>
                <a:off x="3144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3" name="Rectangle 40"/>
              <p:cNvSpPr>
                <a:spLocks noChangeArrowheads="1"/>
              </p:cNvSpPr>
              <p:nvPr/>
            </p:nvSpPr>
            <p:spPr bwMode="auto">
              <a:xfrm>
                <a:off x="2878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4" name="Rectangle 41"/>
              <p:cNvSpPr>
                <a:spLocks noChangeArrowheads="1"/>
              </p:cNvSpPr>
              <p:nvPr/>
            </p:nvSpPr>
            <p:spPr bwMode="auto">
              <a:xfrm>
                <a:off x="2608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5" name="Rectangle 42"/>
              <p:cNvSpPr>
                <a:spLocks noChangeArrowheads="1"/>
              </p:cNvSpPr>
              <p:nvPr/>
            </p:nvSpPr>
            <p:spPr bwMode="auto">
              <a:xfrm>
                <a:off x="234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6" name="Rectangle 43"/>
              <p:cNvSpPr>
                <a:spLocks noChangeArrowheads="1"/>
              </p:cNvSpPr>
              <p:nvPr/>
            </p:nvSpPr>
            <p:spPr bwMode="auto">
              <a:xfrm>
                <a:off x="207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7" name="Rectangle 44"/>
              <p:cNvSpPr>
                <a:spLocks noChangeArrowheads="1"/>
              </p:cNvSpPr>
              <p:nvPr/>
            </p:nvSpPr>
            <p:spPr bwMode="auto">
              <a:xfrm>
                <a:off x="180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8" name="Rectangle 45"/>
              <p:cNvSpPr>
                <a:spLocks noChangeArrowheads="1"/>
              </p:cNvSpPr>
              <p:nvPr/>
            </p:nvSpPr>
            <p:spPr bwMode="auto">
              <a:xfrm>
                <a:off x="1537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9" name="Rectangle 46"/>
              <p:cNvSpPr>
                <a:spLocks noChangeArrowheads="1"/>
              </p:cNvSpPr>
              <p:nvPr/>
            </p:nvSpPr>
            <p:spPr bwMode="auto">
              <a:xfrm>
                <a:off x="127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0" name="Rectangle 47"/>
              <p:cNvSpPr>
                <a:spLocks noChangeArrowheads="1"/>
              </p:cNvSpPr>
              <p:nvPr/>
            </p:nvSpPr>
            <p:spPr bwMode="auto">
              <a:xfrm>
                <a:off x="1004" y="3292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1" name="Rectangle 48"/>
              <p:cNvSpPr>
                <a:spLocks noChangeArrowheads="1"/>
              </p:cNvSpPr>
              <p:nvPr/>
            </p:nvSpPr>
            <p:spPr bwMode="auto">
              <a:xfrm>
                <a:off x="5595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2" name="Rectangle 49"/>
              <p:cNvSpPr>
                <a:spLocks noChangeArrowheads="1"/>
              </p:cNvSpPr>
              <p:nvPr/>
            </p:nvSpPr>
            <p:spPr bwMode="auto">
              <a:xfrm>
                <a:off x="5328" y="190"/>
                <a:ext cx="56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3" name="Rectangle 50"/>
              <p:cNvSpPr>
                <a:spLocks noChangeArrowheads="1"/>
              </p:cNvSpPr>
              <p:nvPr/>
            </p:nvSpPr>
            <p:spPr bwMode="auto">
              <a:xfrm>
                <a:off x="505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4" name="Rectangle 51"/>
              <p:cNvSpPr>
                <a:spLocks noChangeArrowheads="1"/>
              </p:cNvSpPr>
              <p:nvPr/>
            </p:nvSpPr>
            <p:spPr bwMode="auto">
              <a:xfrm>
                <a:off x="4793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5" name="Rectangle 52"/>
              <p:cNvSpPr>
                <a:spLocks noChangeArrowheads="1"/>
              </p:cNvSpPr>
              <p:nvPr/>
            </p:nvSpPr>
            <p:spPr bwMode="auto">
              <a:xfrm>
                <a:off x="452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6" name="Rectangle 53"/>
              <p:cNvSpPr>
                <a:spLocks noChangeArrowheads="1"/>
              </p:cNvSpPr>
              <p:nvPr/>
            </p:nvSpPr>
            <p:spPr bwMode="auto">
              <a:xfrm>
                <a:off x="425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7" name="Rectangle 54"/>
              <p:cNvSpPr>
                <a:spLocks noChangeArrowheads="1"/>
              </p:cNvSpPr>
              <p:nvPr/>
            </p:nvSpPr>
            <p:spPr bwMode="auto">
              <a:xfrm>
                <a:off x="398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8" name="Rectangle 55"/>
              <p:cNvSpPr>
                <a:spLocks noChangeArrowheads="1"/>
              </p:cNvSpPr>
              <p:nvPr/>
            </p:nvSpPr>
            <p:spPr bwMode="auto">
              <a:xfrm>
                <a:off x="3721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9" name="Rectangle 56"/>
              <p:cNvSpPr>
                <a:spLocks noChangeArrowheads="1"/>
              </p:cNvSpPr>
              <p:nvPr/>
            </p:nvSpPr>
            <p:spPr bwMode="auto">
              <a:xfrm>
                <a:off x="3455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0" name="Rectangle 57"/>
              <p:cNvSpPr>
                <a:spLocks noChangeArrowheads="1"/>
              </p:cNvSpPr>
              <p:nvPr/>
            </p:nvSpPr>
            <p:spPr bwMode="auto">
              <a:xfrm>
                <a:off x="3185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1" name="Rectangle 58"/>
              <p:cNvSpPr>
                <a:spLocks noChangeArrowheads="1"/>
              </p:cNvSpPr>
              <p:nvPr/>
            </p:nvSpPr>
            <p:spPr bwMode="auto">
              <a:xfrm>
                <a:off x="291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2" name="Rectangle 59"/>
              <p:cNvSpPr>
                <a:spLocks noChangeArrowheads="1"/>
              </p:cNvSpPr>
              <p:nvPr/>
            </p:nvSpPr>
            <p:spPr bwMode="auto">
              <a:xfrm>
                <a:off x="2650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3" name="Rectangle 60"/>
              <p:cNvSpPr>
                <a:spLocks noChangeArrowheads="1"/>
              </p:cNvSpPr>
              <p:nvPr/>
            </p:nvSpPr>
            <p:spPr bwMode="auto">
              <a:xfrm>
                <a:off x="238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4" name="Rectangle 61"/>
              <p:cNvSpPr>
                <a:spLocks noChangeArrowheads="1"/>
              </p:cNvSpPr>
              <p:nvPr/>
            </p:nvSpPr>
            <p:spPr bwMode="auto">
              <a:xfrm>
                <a:off x="2114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5" name="Rectangle 62"/>
              <p:cNvSpPr>
                <a:spLocks noChangeArrowheads="1"/>
              </p:cNvSpPr>
              <p:nvPr/>
            </p:nvSpPr>
            <p:spPr bwMode="auto">
              <a:xfrm>
                <a:off x="1848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6" name="Rectangle 63"/>
              <p:cNvSpPr>
                <a:spLocks noChangeArrowheads="1"/>
              </p:cNvSpPr>
              <p:nvPr/>
            </p:nvSpPr>
            <p:spPr bwMode="auto">
              <a:xfrm>
                <a:off x="1582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7" name="Rectangle 64"/>
              <p:cNvSpPr>
                <a:spLocks noChangeArrowheads="1"/>
              </p:cNvSpPr>
              <p:nvPr/>
            </p:nvSpPr>
            <p:spPr bwMode="auto">
              <a:xfrm>
                <a:off x="1312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8" name="Rectangle 65"/>
              <p:cNvSpPr>
                <a:spLocks noChangeArrowheads="1"/>
              </p:cNvSpPr>
              <p:nvPr/>
            </p:nvSpPr>
            <p:spPr bwMode="auto">
              <a:xfrm>
                <a:off x="1046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9" name="Rectangle 66"/>
              <p:cNvSpPr>
                <a:spLocks noChangeArrowheads="1"/>
              </p:cNvSpPr>
              <p:nvPr/>
            </p:nvSpPr>
            <p:spPr bwMode="auto">
              <a:xfrm>
                <a:off x="776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0" name="Rectangle 67"/>
              <p:cNvSpPr>
                <a:spLocks noChangeArrowheads="1"/>
              </p:cNvSpPr>
              <p:nvPr/>
            </p:nvSpPr>
            <p:spPr bwMode="auto">
              <a:xfrm>
                <a:off x="510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1" name="Rectangle 68"/>
              <p:cNvSpPr>
                <a:spLocks noChangeArrowheads="1"/>
              </p:cNvSpPr>
              <p:nvPr/>
            </p:nvSpPr>
            <p:spPr bwMode="auto">
              <a:xfrm>
                <a:off x="545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2" name="Rectangle 69"/>
              <p:cNvSpPr>
                <a:spLocks noChangeArrowheads="1"/>
              </p:cNvSpPr>
              <p:nvPr/>
            </p:nvSpPr>
            <p:spPr bwMode="auto">
              <a:xfrm>
                <a:off x="5187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3" name="Rectangle 70"/>
              <p:cNvSpPr>
                <a:spLocks noChangeArrowheads="1"/>
              </p:cNvSpPr>
              <p:nvPr/>
            </p:nvSpPr>
            <p:spPr bwMode="auto">
              <a:xfrm>
                <a:off x="491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4" name="Rectangle 71"/>
              <p:cNvSpPr>
                <a:spLocks noChangeArrowheads="1"/>
              </p:cNvSpPr>
              <p:nvPr/>
            </p:nvSpPr>
            <p:spPr bwMode="auto">
              <a:xfrm>
                <a:off x="4651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5" name="Rectangle 72"/>
              <p:cNvSpPr>
                <a:spLocks noChangeArrowheads="1"/>
              </p:cNvSpPr>
              <p:nvPr/>
            </p:nvSpPr>
            <p:spPr bwMode="auto">
              <a:xfrm>
                <a:off x="4385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6" name="Rectangle 73"/>
              <p:cNvSpPr>
                <a:spLocks noChangeArrowheads="1"/>
              </p:cNvSpPr>
              <p:nvPr/>
            </p:nvSpPr>
            <p:spPr bwMode="auto">
              <a:xfrm>
                <a:off x="4115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7" name="Rectangle 74"/>
              <p:cNvSpPr>
                <a:spLocks noChangeArrowheads="1"/>
              </p:cNvSpPr>
              <p:nvPr/>
            </p:nvSpPr>
            <p:spPr bwMode="auto">
              <a:xfrm>
                <a:off x="384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8" name="Rectangle 75"/>
              <p:cNvSpPr>
                <a:spLocks noChangeArrowheads="1"/>
              </p:cNvSpPr>
              <p:nvPr/>
            </p:nvSpPr>
            <p:spPr bwMode="auto">
              <a:xfrm>
                <a:off x="357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9" name="Rectangle 76"/>
              <p:cNvSpPr>
                <a:spLocks noChangeArrowheads="1"/>
              </p:cNvSpPr>
              <p:nvPr/>
            </p:nvSpPr>
            <p:spPr bwMode="auto">
              <a:xfrm>
                <a:off x="331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0" name="Rectangle 77"/>
              <p:cNvSpPr>
                <a:spLocks noChangeArrowheads="1"/>
              </p:cNvSpPr>
              <p:nvPr/>
            </p:nvSpPr>
            <p:spPr bwMode="auto">
              <a:xfrm>
                <a:off x="3044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1" name="Rectangle 78"/>
              <p:cNvSpPr>
                <a:spLocks noChangeArrowheads="1"/>
              </p:cNvSpPr>
              <p:nvPr/>
            </p:nvSpPr>
            <p:spPr bwMode="auto">
              <a:xfrm>
                <a:off x="277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2" name="Rectangle 79"/>
              <p:cNvSpPr>
                <a:spLocks noChangeArrowheads="1"/>
              </p:cNvSpPr>
              <p:nvPr/>
            </p:nvSpPr>
            <p:spPr bwMode="auto">
              <a:xfrm>
                <a:off x="2511" y="519"/>
                <a:ext cx="56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3" name="Rectangle 80"/>
              <p:cNvSpPr>
                <a:spLocks noChangeArrowheads="1"/>
              </p:cNvSpPr>
              <p:nvPr/>
            </p:nvSpPr>
            <p:spPr bwMode="auto">
              <a:xfrm>
                <a:off x="2242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4" name="Rectangle 81"/>
              <p:cNvSpPr>
                <a:spLocks noChangeArrowheads="1"/>
              </p:cNvSpPr>
              <p:nvPr/>
            </p:nvSpPr>
            <p:spPr bwMode="auto">
              <a:xfrm>
                <a:off x="1976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5" name="Rectangle 82"/>
              <p:cNvSpPr>
                <a:spLocks noChangeArrowheads="1"/>
              </p:cNvSpPr>
              <p:nvPr/>
            </p:nvSpPr>
            <p:spPr bwMode="auto">
              <a:xfrm>
                <a:off x="1706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6" name="Rectangle 83"/>
              <p:cNvSpPr>
                <a:spLocks noChangeArrowheads="1"/>
              </p:cNvSpPr>
              <p:nvPr/>
            </p:nvSpPr>
            <p:spPr bwMode="auto">
              <a:xfrm>
                <a:off x="144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7" name="Rectangle 84"/>
              <p:cNvSpPr>
                <a:spLocks noChangeArrowheads="1"/>
              </p:cNvSpPr>
              <p:nvPr/>
            </p:nvSpPr>
            <p:spPr bwMode="auto">
              <a:xfrm>
                <a:off x="117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8" name="Rectangle 85"/>
              <p:cNvSpPr>
                <a:spLocks noChangeArrowheads="1"/>
              </p:cNvSpPr>
              <p:nvPr/>
            </p:nvSpPr>
            <p:spPr bwMode="auto">
              <a:xfrm>
                <a:off x="904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9" name="Rectangle 86"/>
              <p:cNvSpPr>
                <a:spLocks noChangeArrowheads="1"/>
              </p:cNvSpPr>
              <p:nvPr/>
            </p:nvSpPr>
            <p:spPr bwMode="auto">
              <a:xfrm>
                <a:off x="638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0" name="Rectangle 87"/>
              <p:cNvSpPr>
                <a:spLocks noChangeArrowheads="1"/>
              </p:cNvSpPr>
              <p:nvPr/>
            </p:nvSpPr>
            <p:spPr bwMode="auto">
              <a:xfrm>
                <a:off x="368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1" name="Oval 88"/>
              <p:cNvSpPr>
                <a:spLocks noChangeArrowheads="1"/>
              </p:cNvSpPr>
              <p:nvPr/>
            </p:nvSpPr>
            <p:spPr bwMode="auto">
              <a:xfrm>
                <a:off x="334" y="2953"/>
                <a:ext cx="535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2" name="Oval 89"/>
              <p:cNvSpPr>
                <a:spLocks noChangeArrowheads="1"/>
              </p:cNvSpPr>
              <p:nvPr/>
            </p:nvSpPr>
            <p:spPr bwMode="auto">
              <a:xfrm>
                <a:off x="5771" y="187"/>
                <a:ext cx="536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3" name="Rectangle 90"/>
              <p:cNvSpPr>
                <a:spLocks noChangeArrowheads="1"/>
              </p:cNvSpPr>
              <p:nvPr/>
            </p:nvSpPr>
            <p:spPr bwMode="auto">
              <a:xfrm>
                <a:off x="1872" y="1262"/>
                <a:ext cx="1811" cy="1179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4" name="Rectangle 91"/>
              <p:cNvSpPr>
                <a:spLocks noChangeArrowheads="1"/>
              </p:cNvSpPr>
              <p:nvPr/>
            </p:nvSpPr>
            <p:spPr bwMode="auto">
              <a:xfrm>
                <a:off x="465" y="1269"/>
                <a:ext cx="591" cy="553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5" name="Oval 92"/>
              <p:cNvSpPr>
                <a:spLocks noChangeArrowheads="1"/>
              </p:cNvSpPr>
              <p:nvPr/>
            </p:nvSpPr>
            <p:spPr bwMode="auto">
              <a:xfrm>
                <a:off x="5242" y="1418"/>
                <a:ext cx="854" cy="854"/>
              </a:xfrm>
              <a:prstGeom prst="ellipse">
                <a:avLst/>
              </a:prstGeom>
              <a:solidFill>
                <a:srgbClr val="BECD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6" name="Oval 93"/>
              <p:cNvSpPr>
                <a:spLocks noChangeArrowheads="1"/>
              </p:cNvSpPr>
              <p:nvPr/>
            </p:nvSpPr>
            <p:spPr bwMode="auto">
              <a:xfrm>
                <a:off x="5342" y="1518"/>
                <a:ext cx="654" cy="653"/>
              </a:xfrm>
              <a:prstGeom prst="ellipse">
                <a:avLst/>
              </a:prstGeom>
              <a:solidFill>
                <a:srgbClr val="9BAF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7" name="Oval 94"/>
              <p:cNvSpPr>
                <a:spLocks noChangeArrowheads="1"/>
              </p:cNvSpPr>
              <p:nvPr/>
            </p:nvSpPr>
            <p:spPr bwMode="auto">
              <a:xfrm>
                <a:off x="507" y="2202"/>
                <a:ext cx="508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8" name="Oval 95"/>
              <p:cNvSpPr>
                <a:spLocks noChangeArrowheads="1"/>
              </p:cNvSpPr>
              <p:nvPr/>
            </p:nvSpPr>
            <p:spPr bwMode="auto">
              <a:xfrm>
                <a:off x="4782" y="2202"/>
                <a:ext cx="505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8" name="Rechteck 288"/>
            <p:cNvSpPr/>
            <p:nvPr/>
          </p:nvSpPr>
          <p:spPr bwMode="auto">
            <a:xfrm>
              <a:off x="4962561" y="3372773"/>
              <a:ext cx="282595" cy="13734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grpSp>
          <p:nvGrpSpPr>
            <p:cNvPr id="49" name="Group 4"/>
            <p:cNvGrpSpPr>
              <a:grpSpLocks noChangeAspect="1"/>
            </p:cNvGrpSpPr>
            <p:nvPr/>
          </p:nvGrpSpPr>
          <p:grpSpPr bwMode="auto">
            <a:xfrm>
              <a:off x="4768619" y="4882482"/>
              <a:ext cx="1866093" cy="1090617"/>
              <a:chOff x="147" y="0"/>
              <a:chExt cx="6336" cy="3703"/>
            </a:xfrm>
          </p:grpSpPr>
          <p:sp>
            <p:nvSpPr>
              <p:cNvPr id="84" name="Freeform 5"/>
              <p:cNvSpPr>
                <a:spLocks/>
              </p:cNvSpPr>
              <p:nvPr/>
            </p:nvSpPr>
            <p:spPr bwMode="auto">
              <a:xfrm>
                <a:off x="147" y="0"/>
                <a:ext cx="6336" cy="3703"/>
              </a:xfrm>
              <a:custGeom>
                <a:avLst/>
                <a:gdLst>
                  <a:gd name="T0" fmla="*/ 1804 w 1833"/>
                  <a:gd name="T1" fmla="*/ 1071 h 1071"/>
                  <a:gd name="T2" fmla="*/ 29 w 1833"/>
                  <a:gd name="T3" fmla="*/ 1071 h 1071"/>
                  <a:gd name="T4" fmla="*/ 0 w 1833"/>
                  <a:gd name="T5" fmla="*/ 1042 h 1071"/>
                  <a:gd name="T6" fmla="*/ 0 w 1833"/>
                  <a:gd name="T7" fmla="*/ 29 h 1071"/>
                  <a:gd name="T8" fmla="*/ 29 w 1833"/>
                  <a:gd name="T9" fmla="*/ 0 h 1071"/>
                  <a:gd name="T10" fmla="*/ 1804 w 1833"/>
                  <a:gd name="T11" fmla="*/ 0 h 1071"/>
                  <a:gd name="T12" fmla="*/ 1833 w 1833"/>
                  <a:gd name="T13" fmla="*/ 29 h 1071"/>
                  <a:gd name="T14" fmla="*/ 1833 w 1833"/>
                  <a:gd name="T15" fmla="*/ 1042 h 1071"/>
                  <a:gd name="T16" fmla="*/ 1804 w 1833"/>
                  <a:gd name="T17" fmla="*/ 1071 h 10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833" h="1071">
                    <a:moveTo>
                      <a:pt x="1804" y="1071"/>
                    </a:moveTo>
                    <a:cubicBezTo>
                      <a:pt x="29" y="1071"/>
                      <a:pt x="29" y="1071"/>
                      <a:pt x="29" y="1071"/>
                    </a:cubicBezTo>
                    <a:cubicBezTo>
                      <a:pt x="13" y="1071"/>
                      <a:pt x="0" y="1058"/>
                      <a:pt x="0" y="1042"/>
                    </a:cubicBezTo>
                    <a:cubicBezTo>
                      <a:pt x="0" y="29"/>
                      <a:pt x="0" y="29"/>
                      <a:pt x="0" y="29"/>
                    </a:cubicBezTo>
                    <a:cubicBezTo>
                      <a:pt x="0" y="13"/>
                      <a:pt x="13" y="0"/>
                      <a:pt x="29" y="0"/>
                    </a:cubicBezTo>
                    <a:cubicBezTo>
                      <a:pt x="1804" y="0"/>
                      <a:pt x="1804" y="0"/>
                      <a:pt x="1804" y="0"/>
                    </a:cubicBezTo>
                    <a:cubicBezTo>
                      <a:pt x="1820" y="0"/>
                      <a:pt x="1833" y="13"/>
                      <a:pt x="1833" y="29"/>
                    </a:cubicBezTo>
                    <a:cubicBezTo>
                      <a:pt x="1833" y="1042"/>
                      <a:pt x="1833" y="1042"/>
                      <a:pt x="1833" y="1042"/>
                    </a:cubicBezTo>
                    <a:cubicBezTo>
                      <a:pt x="1833" y="1058"/>
                      <a:pt x="1820" y="1071"/>
                      <a:pt x="1804" y="1071"/>
                    </a:cubicBezTo>
                    <a:close/>
                  </a:path>
                </a:pathLst>
              </a:custGeom>
              <a:solidFill>
                <a:srgbClr val="CDD9E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5" name="Rectangle 6"/>
              <p:cNvSpPr>
                <a:spLocks noChangeArrowheads="1"/>
              </p:cNvSpPr>
              <p:nvPr/>
            </p:nvSpPr>
            <p:spPr bwMode="auto">
              <a:xfrm>
                <a:off x="147" y="920"/>
                <a:ext cx="6336" cy="1863"/>
              </a:xfrm>
              <a:prstGeom prst="rect">
                <a:avLst/>
              </a:prstGeom>
              <a:solidFill>
                <a:srgbClr val="EBF0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6" name="Freeform 7"/>
              <p:cNvSpPr>
                <a:spLocks/>
              </p:cNvSpPr>
              <p:nvPr/>
            </p:nvSpPr>
            <p:spPr bwMode="auto">
              <a:xfrm>
                <a:off x="154" y="920"/>
                <a:ext cx="1386" cy="1863"/>
              </a:xfrm>
              <a:custGeom>
                <a:avLst/>
                <a:gdLst>
                  <a:gd name="T0" fmla="*/ 357 w 401"/>
                  <a:gd name="T1" fmla="*/ 282 h 539"/>
                  <a:gd name="T2" fmla="*/ 401 w 401"/>
                  <a:gd name="T3" fmla="*/ 0 h 539"/>
                  <a:gd name="T4" fmla="*/ 0 w 401"/>
                  <a:gd name="T5" fmla="*/ 0 h 539"/>
                  <a:gd name="T6" fmla="*/ 0 w 401"/>
                  <a:gd name="T7" fmla="*/ 539 h 539"/>
                  <a:gd name="T8" fmla="*/ 393 w 401"/>
                  <a:gd name="T9" fmla="*/ 539 h 539"/>
                  <a:gd name="T10" fmla="*/ 357 w 401"/>
                  <a:gd name="T11" fmla="*/ 282 h 5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01" h="539">
                    <a:moveTo>
                      <a:pt x="357" y="282"/>
                    </a:moveTo>
                    <a:cubicBezTo>
                      <a:pt x="357" y="180"/>
                      <a:pt x="373" y="84"/>
                      <a:pt x="401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539"/>
                      <a:pt x="0" y="539"/>
                      <a:pt x="0" y="539"/>
                    </a:cubicBezTo>
                    <a:cubicBezTo>
                      <a:pt x="393" y="539"/>
                      <a:pt x="393" y="539"/>
                      <a:pt x="393" y="539"/>
                    </a:cubicBezTo>
                    <a:cubicBezTo>
                      <a:pt x="370" y="461"/>
                      <a:pt x="357" y="374"/>
                      <a:pt x="357" y="282"/>
                    </a:cubicBezTo>
                    <a:close/>
                  </a:path>
                </a:pathLst>
              </a:custGeom>
              <a:solidFill>
                <a:srgbClr val="DFE6E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7" name="Rectangle 8"/>
              <p:cNvSpPr>
                <a:spLocks noChangeArrowheads="1"/>
              </p:cNvSpPr>
              <p:nvPr/>
            </p:nvSpPr>
            <p:spPr bwMode="auto">
              <a:xfrm>
                <a:off x="6227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8" name="Rectangle 9"/>
              <p:cNvSpPr>
                <a:spLocks noChangeArrowheads="1"/>
              </p:cNvSpPr>
              <p:nvPr/>
            </p:nvSpPr>
            <p:spPr bwMode="auto">
              <a:xfrm>
                <a:off x="5961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9" name="Rectangle 10"/>
              <p:cNvSpPr>
                <a:spLocks noChangeArrowheads="1"/>
              </p:cNvSpPr>
              <p:nvPr/>
            </p:nvSpPr>
            <p:spPr bwMode="auto">
              <a:xfrm>
                <a:off x="5695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0" name="Rectangle 11"/>
              <p:cNvSpPr>
                <a:spLocks noChangeArrowheads="1"/>
              </p:cNvSpPr>
              <p:nvPr/>
            </p:nvSpPr>
            <p:spPr bwMode="auto">
              <a:xfrm>
                <a:off x="5425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1" name="Rectangle 12"/>
              <p:cNvSpPr>
                <a:spLocks noChangeArrowheads="1"/>
              </p:cNvSpPr>
              <p:nvPr/>
            </p:nvSpPr>
            <p:spPr bwMode="auto">
              <a:xfrm>
                <a:off x="515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2" name="Rectangle 13"/>
              <p:cNvSpPr>
                <a:spLocks noChangeArrowheads="1"/>
              </p:cNvSpPr>
              <p:nvPr/>
            </p:nvSpPr>
            <p:spPr bwMode="auto">
              <a:xfrm>
                <a:off x="4889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3" name="Rectangle 14"/>
              <p:cNvSpPr>
                <a:spLocks noChangeArrowheads="1"/>
              </p:cNvSpPr>
              <p:nvPr/>
            </p:nvSpPr>
            <p:spPr bwMode="auto">
              <a:xfrm>
                <a:off x="4623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4" name="Rectangle 15"/>
              <p:cNvSpPr>
                <a:spLocks noChangeArrowheads="1"/>
              </p:cNvSpPr>
              <p:nvPr/>
            </p:nvSpPr>
            <p:spPr bwMode="auto">
              <a:xfrm>
                <a:off x="4354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5" name="Rectangle 16"/>
              <p:cNvSpPr>
                <a:spLocks noChangeArrowheads="1"/>
              </p:cNvSpPr>
              <p:nvPr/>
            </p:nvSpPr>
            <p:spPr bwMode="auto">
              <a:xfrm>
                <a:off x="4088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8" name="Rectangle 17"/>
              <p:cNvSpPr>
                <a:spLocks noChangeArrowheads="1"/>
              </p:cNvSpPr>
              <p:nvPr/>
            </p:nvSpPr>
            <p:spPr bwMode="auto">
              <a:xfrm>
                <a:off x="3821" y="2963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0" name="Rectangle 18"/>
              <p:cNvSpPr>
                <a:spLocks noChangeArrowheads="1"/>
              </p:cNvSpPr>
              <p:nvPr/>
            </p:nvSpPr>
            <p:spPr bwMode="auto">
              <a:xfrm>
                <a:off x="355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1" name="Rectangle 19"/>
              <p:cNvSpPr>
                <a:spLocks noChangeArrowheads="1"/>
              </p:cNvSpPr>
              <p:nvPr/>
            </p:nvSpPr>
            <p:spPr bwMode="auto">
              <a:xfrm>
                <a:off x="3286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2" name="Rectangle 20"/>
              <p:cNvSpPr>
                <a:spLocks noChangeArrowheads="1"/>
              </p:cNvSpPr>
              <p:nvPr/>
            </p:nvSpPr>
            <p:spPr bwMode="auto">
              <a:xfrm>
                <a:off x="3016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3" name="Rectangle 21"/>
              <p:cNvSpPr>
                <a:spLocks noChangeArrowheads="1"/>
              </p:cNvSpPr>
              <p:nvPr/>
            </p:nvSpPr>
            <p:spPr bwMode="auto">
              <a:xfrm>
                <a:off x="275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4" name="Rectangle 22"/>
              <p:cNvSpPr>
                <a:spLocks noChangeArrowheads="1"/>
              </p:cNvSpPr>
              <p:nvPr/>
            </p:nvSpPr>
            <p:spPr bwMode="auto">
              <a:xfrm>
                <a:off x="2480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5" name="Rectangle 23"/>
              <p:cNvSpPr>
                <a:spLocks noChangeArrowheads="1"/>
              </p:cNvSpPr>
              <p:nvPr/>
            </p:nvSpPr>
            <p:spPr bwMode="auto">
              <a:xfrm>
                <a:off x="2214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6" name="Rectangle 24"/>
              <p:cNvSpPr>
                <a:spLocks noChangeArrowheads="1"/>
              </p:cNvSpPr>
              <p:nvPr/>
            </p:nvSpPr>
            <p:spPr bwMode="auto">
              <a:xfrm>
                <a:off x="1948" y="2963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7" name="Rectangle 25"/>
              <p:cNvSpPr>
                <a:spLocks noChangeArrowheads="1"/>
              </p:cNvSpPr>
              <p:nvPr/>
            </p:nvSpPr>
            <p:spPr bwMode="auto">
              <a:xfrm>
                <a:off x="1678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/>
            </p:nvSpPr>
            <p:spPr bwMode="auto">
              <a:xfrm>
                <a:off x="1412" y="2963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/>
            </p:nvSpPr>
            <p:spPr bwMode="auto">
              <a:xfrm>
                <a:off x="1143" y="2963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/>
            </p:nvSpPr>
            <p:spPr bwMode="auto">
              <a:xfrm>
                <a:off x="608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/>
            </p:nvSpPr>
            <p:spPr bwMode="auto">
              <a:xfrm>
                <a:off x="5819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/>
            </p:nvSpPr>
            <p:spPr bwMode="auto">
              <a:xfrm>
                <a:off x="5553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/>
            </p:nvSpPr>
            <p:spPr bwMode="auto">
              <a:xfrm>
                <a:off x="5284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/>
            </p:nvSpPr>
            <p:spPr bwMode="auto">
              <a:xfrm>
                <a:off x="5017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5" name="Rectangle 33"/>
              <p:cNvSpPr>
                <a:spLocks noChangeArrowheads="1"/>
              </p:cNvSpPr>
              <p:nvPr/>
            </p:nvSpPr>
            <p:spPr bwMode="auto">
              <a:xfrm>
                <a:off x="4751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/>
            </p:nvSpPr>
            <p:spPr bwMode="auto">
              <a:xfrm>
                <a:off x="4482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/>
            </p:nvSpPr>
            <p:spPr bwMode="auto">
              <a:xfrm>
                <a:off x="4215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/>
            </p:nvSpPr>
            <p:spPr bwMode="auto">
              <a:xfrm>
                <a:off x="394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9" name="Rectangle 37"/>
              <p:cNvSpPr>
                <a:spLocks noChangeArrowheads="1"/>
              </p:cNvSpPr>
              <p:nvPr/>
            </p:nvSpPr>
            <p:spPr bwMode="auto">
              <a:xfrm>
                <a:off x="3680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0" name="Rectangle 38"/>
              <p:cNvSpPr>
                <a:spLocks noChangeArrowheads="1"/>
              </p:cNvSpPr>
              <p:nvPr/>
            </p:nvSpPr>
            <p:spPr bwMode="auto">
              <a:xfrm>
                <a:off x="341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1" name="Rectangle 39"/>
              <p:cNvSpPr>
                <a:spLocks noChangeArrowheads="1"/>
              </p:cNvSpPr>
              <p:nvPr/>
            </p:nvSpPr>
            <p:spPr bwMode="auto">
              <a:xfrm>
                <a:off x="3144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2" name="Rectangle 40"/>
              <p:cNvSpPr>
                <a:spLocks noChangeArrowheads="1"/>
              </p:cNvSpPr>
              <p:nvPr/>
            </p:nvSpPr>
            <p:spPr bwMode="auto">
              <a:xfrm>
                <a:off x="2878" y="3292"/>
                <a:ext cx="55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3" name="Rectangle 41"/>
              <p:cNvSpPr>
                <a:spLocks noChangeArrowheads="1"/>
              </p:cNvSpPr>
              <p:nvPr/>
            </p:nvSpPr>
            <p:spPr bwMode="auto">
              <a:xfrm>
                <a:off x="2608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4" name="Rectangle 42"/>
              <p:cNvSpPr>
                <a:spLocks noChangeArrowheads="1"/>
              </p:cNvSpPr>
              <p:nvPr/>
            </p:nvSpPr>
            <p:spPr bwMode="auto">
              <a:xfrm>
                <a:off x="234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5" name="Rectangle 43"/>
              <p:cNvSpPr>
                <a:spLocks noChangeArrowheads="1"/>
              </p:cNvSpPr>
              <p:nvPr/>
            </p:nvSpPr>
            <p:spPr bwMode="auto">
              <a:xfrm>
                <a:off x="2072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6" name="Rectangle 44"/>
              <p:cNvSpPr>
                <a:spLocks noChangeArrowheads="1"/>
              </p:cNvSpPr>
              <p:nvPr/>
            </p:nvSpPr>
            <p:spPr bwMode="auto">
              <a:xfrm>
                <a:off x="1806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7" name="Rectangle 45"/>
              <p:cNvSpPr>
                <a:spLocks noChangeArrowheads="1"/>
              </p:cNvSpPr>
              <p:nvPr/>
            </p:nvSpPr>
            <p:spPr bwMode="auto">
              <a:xfrm>
                <a:off x="1537" y="3292"/>
                <a:ext cx="58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8" name="Rectangle 46"/>
              <p:cNvSpPr>
                <a:spLocks noChangeArrowheads="1"/>
              </p:cNvSpPr>
              <p:nvPr/>
            </p:nvSpPr>
            <p:spPr bwMode="auto">
              <a:xfrm>
                <a:off x="1270" y="3292"/>
                <a:ext cx="59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29" name="Rectangle 47"/>
              <p:cNvSpPr>
                <a:spLocks noChangeArrowheads="1"/>
              </p:cNvSpPr>
              <p:nvPr/>
            </p:nvSpPr>
            <p:spPr bwMode="auto">
              <a:xfrm>
                <a:off x="1004" y="3292"/>
                <a:ext cx="56" cy="221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0" name="Rectangle 48"/>
              <p:cNvSpPr>
                <a:spLocks noChangeArrowheads="1"/>
              </p:cNvSpPr>
              <p:nvPr/>
            </p:nvSpPr>
            <p:spPr bwMode="auto">
              <a:xfrm>
                <a:off x="5595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1" name="Rectangle 49"/>
              <p:cNvSpPr>
                <a:spLocks noChangeArrowheads="1"/>
              </p:cNvSpPr>
              <p:nvPr/>
            </p:nvSpPr>
            <p:spPr bwMode="auto">
              <a:xfrm>
                <a:off x="5328" y="190"/>
                <a:ext cx="56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2" name="Rectangle 50"/>
              <p:cNvSpPr>
                <a:spLocks noChangeArrowheads="1"/>
              </p:cNvSpPr>
              <p:nvPr/>
            </p:nvSpPr>
            <p:spPr bwMode="auto">
              <a:xfrm>
                <a:off x="505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3" name="Rectangle 51"/>
              <p:cNvSpPr>
                <a:spLocks noChangeArrowheads="1"/>
              </p:cNvSpPr>
              <p:nvPr/>
            </p:nvSpPr>
            <p:spPr bwMode="auto">
              <a:xfrm>
                <a:off x="4793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4" name="Rectangle 52"/>
              <p:cNvSpPr>
                <a:spLocks noChangeArrowheads="1"/>
              </p:cNvSpPr>
              <p:nvPr/>
            </p:nvSpPr>
            <p:spPr bwMode="auto">
              <a:xfrm>
                <a:off x="452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5" name="Rectangle 53"/>
              <p:cNvSpPr>
                <a:spLocks noChangeArrowheads="1"/>
              </p:cNvSpPr>
              <p:nvPr/>
            </p:nvSpPr>
            <p:spPr bwMode="auto">
              <a:xfrm>
                <a:off x="425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6" name="Rectangle 54"/>
              <p:cNvSpPr>
                <a:spLocks noChangeArrowheads="1"/>
              </p:cNvSpPr>
              <p:nvPr/>
            </p:nvSpPr>
            <p:spPr bwMode="auto">
              <a:xfrm>
                <a:off x="3987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7" name="Rectangle 55"/>
              <p:cNvSpPr>
                <a:spLocks noChangeArrowheads="1"/>
              </p:cNvSpPr>
              <p:nvPr/>
            </p:nvSpPr>
            <p:spPr bwMode="auto">
              <a:xfrm>
                <a:off x="3721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8" name="Rectangle 56"/>
              <p:cNvSpPr>
                <a:spLocks noChangeArrowheads="1"/>
              </p:cNvSpPr>
              <p:nvPr/>
            </p:nvSpPr>
            <p:spPr bwMode="auto">
              <a:xfrm>
                <a:off x="3455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39" name="Rectangle 57"/>
              <p:cNvSpPr>
                <a:spLocks noChangeArrowheads="1"/>
              </p:cNvSpPr>
              <p:nvPr/>
            </p:nvSpPr>
            <p:spPr bwMode="auto">
              <a:xfrm>
                <a:off x="3185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0" name="Rectangle 58"/>
              <p:cNvSpPr>
                <a:spLocks noChangeArrowheads="1"/>
              </p:cNvSpPr>
              <p:nvPr/>
            </p:nvSpPr>
            <p:spPr bwMode="auto">
              <a:xfrm>
                <a:off x="2919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1" name="Rectangle 59"/>
              <p:cNvSpPr>
                <a:spLocks noChangeArrowheads="1"/>
              </p:cNvSpPr>
              <p:nvPr/>
            </p:nvSpPr>
            <p:spPr bwMode="auto">
              <a:xfrm>
                <a:off x="2650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2" name="Rectangle 60"/>
              <p:cNvSpPr>
                <a:spLocks noChangeArrowheads="1"/>
              </p:cNvSpPr>
              <p:nvPr/>
            </p:nvSpPr>
            <p:spPr bwMode="auto">
              <a:xfrm>
                <a:off x="2383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3" name="Rectangle 61"/>
              <p:cNvSpPr>
                <a:spLocks noChangeArrowheads="1"/>
              </p:cNvSpPr>
              <p:nvPr/>
            </p:nvSpPr>
            <p:spPr bwMode="auto">
              <a:xfrm>
                <a:off x="2114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4" name="Rectangle 62"/>
              <p:cNvSpPr>
                <a:spLocks noChangeArrowheads="1"/>
              </p:cNvSpPr>
              <p:nvPr/>
            </p:nvSpPr>
            <p:spPr bwMode="auto">
              <a:xfrm>
                <a:off x="1848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5" name="Rectangle 63"/>
              <p:cNvSpPr>
                <a:spLocks noChangeArrowheads="1"/>
              </p:cNvSpPr>
              <p:nvPr/>
            </p:nvSpPr>
            <p:spPr bwMode="auto">
              <a:xfrm>
                <a:off x="1582" y="190"/>
                <a:ext cx="55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6" name="Rectangle 64"/>
              <p:cNvSpPr>
                <a:spLocks noChangeArrowheads="1"/>
              </p:cNvSpPr>
              <p:nvPr/>
            </p:nvSpPr>
            <p:spPr bwMode="auto">
              <a:xfrm>
                <a:off x="1312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7" name="Rectangle 65"/>
              <p:cNvSpPr>
                <a:spLocks noChangeArrowheads="1"/>
              </p:cNvSpPr>
              <p:nvPr/>
            </p:nvSpPr>
            <p:spPr bwMode="auto">
              <a:xfrm>
                <a:off x="1046" y="190"/>
                <a:ext cx="58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8" name="Rectangle 66"/>
              <p:cNvSpPr>
                <a:spLocks noChangeArrowheads="1"/>
              </p:cNvSpPr>
              <p:nvPr/>
            </p:nvSpPr>
            <p:spPr bwMode="auto">
              <a:xfrm>
                <a:off x="776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9" name="Rectangle 67"/>
              <p:cNvSpPr>
                <a:spLocks noChangeArrowheads="1"/>
              </p:cNvSpPr>
              <p:nvPr/>
            </p:nvSpPr>
            <p:spPr bwMode="auto">
              <a:xfrm>
                <a:off x="510" y="190"/>
                <a:ext cx="59" cy="218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0" name="Rectangle 68"/>
              <p:cNvSpPr>
                <a:spLocks noChangeArrowheads="1"/>
              </p:cNvSpPr>
              <p:nvPr/>
            </p:nvSpPr>
            <p:spPr bwMode="auto">
              <a:xfrm>
                <a:off x="545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1" name="Rectangle 69"/>
              <p:cNvSpPr>
                <a:spLocks noChangeArrowheads="1"/>
              </p:cNvSpPr>
              <p:nvPr/>
            </p:nvSpPr>
            <p:spPr bwMode="auto">
              <a:xfrm>
                <a:off x="5187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2" name="Rectangle 70"/>
              <p:cNvSpPr>
                <a:spLocks noChangeArrowheads="1"/>
              </p:cNvSpPr>
              <p:nvPr/>
            </p:nvSpPr>
            <p:spPr bwMode="auto">
              <a:xfrm>
                <a:off x="491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3" name="Rectangle 71"/>
              <p:cNvSpPr>
                <a:spLocks noChangeArrowheads="1"/>
              </p:cNvSpPr>
              <p:nvPr/>
            </p:nvSpPr>
            <p:spPr bwMode="auto">
              <a:xfrm>
                <a:off x="4651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4" name="Rectangle 72"/>
              <p:cNvSpPr>
                <a:spLocks noChangeArrowheads="1"/>
              </p:cNvSpPr>
              <p:nvPr/>
            </p:nvSpPr>
            <p:spPr bwMode="auto">
              <a:xfrm>
                <a:off x="4385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5" name="Rectangle 73"/>
              <p:cNvSpPr>
                <a:spLocks noChangeArrowheads="1"/>
              </p:cNvSpPr>
              <p:nvPr/>
            </p:nvSpPr>
            <p:spPr bwMode="auto">
              <a:xfrm>
                <a:off x="4115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6" name="Rectangle 74"/>
              <p:cNvSpPr>
                <a:spLocks noChangeArrowheads="1"/>
              </p:cNvSpPr>
              <p:nvPr/>
            </p:nvSpPr>
            <p:spPr bwMode="auto">
              <a:xfrm>
                <a:off x="384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7" name="Rectangle 75"/>
              <p:cNvSpPr>
                <a:spLocks noChangeArrowheads="1"/>
              </p:cNvSpPr>
              <p:nvPr/>
            </p:nvSpPr>
            <p:spPr bwMode="auto">
              <a:xfrm>
                <a:off x="3579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8" name="Rectangle 76"/>
              <p:cNvSpPr>
                <a:spLocks noChangeArrowheads="1"/>
              </p:cNvSpPr>
              <p:nvPr/>
            </p:nvSpPr>
            <p:spPr bwMode="auto">
              <a:xfrm>
                <a:off x="3313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9" name="Rectangle 77"/>
              <p:cNvSpPr>
                <a:spLocks noChangeArrowheads="1"/>
              </p:cNvSpPr>
              <p:nvPr/>
            </p:nvSpPr>
            <p:spPr bwMode="auto">
              <a:xfrm>
                <a:off x="3044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0" name="Rectangle 78"/>
              <p:cNvSpPr>
                <a:spLocks noChangeArrowheads="1"/>
              </p:cNvSpPr>
              <p:nvPr/>
            </p:nvSpPr>
            <p:spPr bwMode="auto">
              <a:xfrm>
                <a:off x="2777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1" name="Rectangle 79"/>
              <p:cNvSpPr>
                <a:spLocks noChangeArrowheads="1"/>
              </p:cNvSpPr>
              <p:nvPr/>
            </p:nvSpPr>
            <p:spPr bwMode="auto">
              <a:xfrm>
                <a:off x="2511" y="519"/>
                <a:ext cx="56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2" name="Rectangle 80"/>
              <p:cNvSpPr>
                <a:spLocks noChangeArrowheads="1"/>
              </p:cNvSpPr>
              <p:nvPr/>
            </p:nvSpPr>
            <p:spPr bwMode="auto">
              <a:xfrm>
                <a:off x="2242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3" name="Rectangle 81"/>
              <p:cNvSpPr>
                <a:spLocks noChangeArrowheads="1"/>
              </p:cNvSpPr>
              <p:nvPr/>
            </p:nvSpPr>
            <p:spPr bwMode="auto">
              <a:xfrm>
                <a:off x="1976" y="519"/>
                <a:ext cx="58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" name="Rectangle 82"/>
              <p:cNvSpPr>
                <a:spLocks noChangeArrowheads="1"/>
              </p:cNvSpPr>
              <p:nvPr/>
            </p:nvSpPr>
            <p:spPr bwMode="auto">
              <a:xfrm>
                <a:off x="1706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5" name="Rectangle 83"/>
              <p:cNvSpPr>
                <a:spLocks noChangeArrowheads="1"/>
              </p:cNvSpPr>
              <p:nvPr/>
            </p:nvSpPr>
            <p:spPr bwMode="auto">
              <a:xfrm>
                <a:off x="144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6" name="Rectangle 84"/>
              <p:cNvSpPr>
                <a:spLocks noChangeArrowheads="1"/>
              </p:cNvSpPr>
              <p:nvPr/>
            </p:nvSpPr>
            <p:spPr bwMode="auto">
              <a:xfrm>
                <a:off x="1170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7" name="Rectangle 85"/>
              <p:cNvSpPr>
                <a:spLocks noChangeArrowheads="1"/>
              </p:cNvSpPr>
              <p:nvPr/>
            </p:nvSpPr>
            <p:spPr bwMode="auto">
              <a:xfrm>
                <a:off x="904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8" name="Rectangle 86"/>
              <p:cNvSpPr>
                <a:spLocks noChangeArrowheads="1"/>
              </p:cNvSpPr>
              <p:nvPr/>
            </p:nvSpPr>
            <p:spPr bwMode="auto">
              <a:xfrm>
                <a:off x="638" y="519"/>
                <a:ext cx="55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" name="Rectangle 87"/>
              <p:cNvSpPr>
                <a:spLocks noChangeArrowheads="1"/>
              </p:cNvSpPr>
              <p:nvPr/>
            </p:nvSpPr>
            <p:spPr bwMode="auto">
              <a:xfrm>
                <a:off x="368" y="519"/>
                <a:ext cx="59" cy="217"/>
              </a:xfrm>
              <a:prstGeom prst="rect">
                <a:avLst/>
              </a:prstGeom>
              <a:solidFill>
                <a:srgbClr val="879BA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" name="Oval 88"/>
              <p:cNvSpPr>
                <a:spLocks noChangeArrowheads="1"/>
              </p:cNvSpPr>
              <p:nvPr/>
            </p:nvSpPr>
            <p:spPr bwMode="auto">
              <a:xfrm>
                <a:off x="334" y="2953"/>
                <a:ext cx="535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1" name="Oval 89"/>
              <p:cNvSpPr>
                <a:spLocks noChangeArrowheads="1"/>
              </p:cNvSpPr>
              <p:nvPr/>
            </p:nvSpPr>
            <p:spPr bwMode="auto">
              <a:xfrm>
                <a:off x="5771" y="187"/>
                <a:ext cx="536" cy="53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2" name="Rectangle 90"/>
              <p:cNvSpPr>
                <a:spLocks noChangeArrowheads="1"/>
              </p:cNvSpPr>
              <p:nvPr/>
            </p:nvSpPr>
            <p:spPr bwMode="auto">
              <a:xfrm>
                <a:off x="1872" y="1262"/>
                <a:ext cx="1811" cy="1179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3" name="Rectangle 91"/>
              <p:cNvSpPr>
                <a:spLocks noChangeArrowheads="1"/>
              </p:cNvSpPr>
              <p:nvPr/>
            </p:nvSpPr>
            <p:spPr bwMode="auto">
              <a:xfrm>
                <a:off x="465" y="1269"/>
                <a:ext cx="591" cy="553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4" name="Oval 92"/>
              <p:cNvSpPr>
                <a:spLocks noChangeArrowheads="1"/>
              </p:cNvSpPr>
              <p:nvPr/>
            </p:nvSpPr>
            <p:spPr bwMode="auto">
              <a:xfrm>
                <a:off x="5242" y="1418"/>
                <a:ext cx="854" cy="854"/>
              </a:xfrm>
              <a:prstGeom prst="ellipse">
                <a:avLst/>
              </a:prstGeom>
              <a:solidFill>
                <a:srgbClr val="BECDD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5" name="Oval 93"/>
              <p:cNvSpPr>
                <a:spLocks noChangeArrowheads="1"/>
              </p:cNvSpPr>
              <p:nvPr/>
            </p:nvSpPr>
            <p:spPr bwMode="auto">
              <a:xfrm>
                <a:off x="5342" y="1518"/>
                <a:ext cx="654" cy="653"/>
              </a:xfrm>
              <a:prstGeom prst="ellipse">
                <a:avLst/>
              </a:prstGeom>
              <a:solidFill>
                <a:srgbClr val="9BAFB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6" name="Oval 94"/>
              <p:cNvSpPr>
                <a:spLocks noChangeArrowheads="1"/>
              </p:cNvSpPr>
              <p:nvPr/>
            </p:nvSpPr>
            <p:spPr bwMode="auto">
              <a:xfrm>
                <a:off x="507" y="2202"/>
                <a:ext cx="508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7" name="Oval 95"/>
              <p:cNvSpPr>
                <a:spLocks noChangeArrowheads="1"/>
              </p:cNvSpPr>
              <p:nvPr/>
            </p:nvSpPr>
            <p:spPr bwMode="auto">
              <a:xfrm>
                <a:off x="4782" y="2202"/>
                <a:ext cx="505" cy="229"/>
              </a:xfrm>
              <a:prstGeom prst="ellipse">
                <a:avLst/>
              </a:prstGeom>
              <a:solidFill>
                <a:srgbClr val="ADBEC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0" name="Rechteck 385"/>
            <p:cNvSpPr/>
            <p:nvPr/>
          </p:nvSpPr>
          <p:spPr bwMode="auto">
            <a:xfrm>
              <a:off x="4962561" y="4952578"/>
              <a:ext cx="282595" cy="13734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51" name="TextBox 250"/>
            <p:cNvSpPr txBox="1"/>
            <p:nvPr/>
          </p:nvSpPr>
          <p:spPr>
            <a:xfrm>
              <a:off x="5309589" y="2132300"/>
              <a:ext cx="482504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0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852ppm</a:t>
              </a:r>
            </a:p>
          </p:txBody>
        </p:sp>
        <p:sp>
          <p:nvSpPr>
            <p:cNvPr id="52" name="TextBox 250"/>
            <p:cNvSpPr txBox="1"/>
            <p:nvPr/>
          </p:nvSpPr>
          <p:spPr>
            <a:xfrm>
              <a:off x="5309589" y="3781417"/>
              <a:ext cx="482504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0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852ppm</a:t>
              </a:r>
            </a:p>
          </p:txBody>
        </p:sp>
        <p:sp>
          <p:nvSpPr>
            <p:cNvPr id="53" name="TextBox 250"/>
            <p:cNvSpPr txBox="1"/>
            <p:nvPr/>
          </p:nvSpPr>
          <p:spPr>
            <a:xfrm>
              <a:off x="5309589" y="5367010"/>
              <a:ext cx="482504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0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852ppm</a:t>
              </a:r>
            </a:p>
          </p:txBody>
        </p:sp>
        <p:sp>
          <p:nvSpPr>
            <p:cNvPr id="54" name="Freeform 79"/>
            <p:cNvSpPr>
              <a:spLocks/>
            </p:cNvSpPr>
            <p:nvPr/>
          </p:nvSpPr>
          <p:spPr bwMode="auto">
            <a:xfrm>
              <a:off x="6074825" y="1932292"/>
              <a:ext cx="1307868" cy="1017984"/>
            </a:xfrm>
            <a:custGeom>
              <a:avLst/>
              <a:gdLst>
                <a:gd name="T0" fmla="*/ 322 w 961"/>
                <a:gd name="T1" fmla="*/ 535 h 748"/>
                <a:gd name="T2" fmla="*/ 854 w 961"/>
                <a:gd name="T3" fmla="*/ 0 h 748"/>
                <a:gd name="T4" fmla="*/ 961 w 961"/>
                <a:gd name="T5" fmla="*/ 106 h 748"/>
                <a:gd name="T6" fmla="*/ 322 w 961"/>
                <a:gd name="T7" fmla="*/ 748 h 748"/>
                <a:gd name="T8" fmla="*/ 0 w 961"/>
                <a:gd name="T9" fmla="*/ 426 h 748"/>
                <a:gd name="T10" fmla="*/ 109 w 961"/>
                <a:gd name="T11" fmla="*/ 319 h 748"/>
                <a:gd name="T12" fmla="*/ 322 w 961"/>
                <a:gd name="T13" fmla="*/ 535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1" h="748">
                  <a:moveTo>
                    <a:pt x="322" y="535"/>
                  </a:moveTo>
                  <a:lnTo>
                    <a:pt x="854" y="0"/>
                  </a:lnTo>
                  <a:lnTo>
                    <a:pt x="961" y="106"/>
                  </a:lnTo>
                  <a:lnTo>
                    <a:pt x="322" y="748"/>
                  </a:lnTo>
                  <a:lnTo>
                    <a:pt x="0" y="426"/>
                  </a:lnTo>
                  <a:lnTo>
                    <a:pt x="109" y="319"/>
                  </a:lnTo>
                  <a:lnTo>
                    <a:pt x="322" y="535"/>
                  </a:ln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79"/>
            <p:cNvSpPr>
              <a:spLocks/>
            </p:cNvSpPr>
            <p:nvPr/>
          </p:nvSpPr>
          <p:spPr bwMode="auto">
            <a:xfrm>
              <a:off x="6074825" y="3523018"/>
              <a:ext cx="1307868" cy="1017984"/>
            </a:xfrm>
            <a:custGeom>
              <a:avLst/>
              <a:gdLst>
                <a:gd name="T0" fmla="*/ 322 w 961"/>
                <a:gd name="T1" fmla="*/ 535 h 748"/>
                <a:gd name="T2" fmla="*/ 854 w 961"/>
                <a:gd name="T3" fmla="*/ 0 h 748"/>
                <a:gd name="T4" fmla="*/ 961 w 961"/>
                <a:gd name="T5" fmla="*/ 106 h 748"/>
                <a:gd name="T6" fmla="*/ 322 w 961"/>
                <a:gd name="T7" fmla="*/ 748 h 748"/>
                <a:gd name="T8" fmla="*/ 0 w 961"/>
                <a:gd name="T9" fmla="*/ 426 h 748"/>
                <a:gd name="T10" fmla="*/ 109 w 961"/>
                <a:gd name="T11" fmla="*/ 319 h 748"/>
                <a:gd name="T12" fmla="*/ 322 w 961"/>
                <a:gd name="T13" fmla="*/ 535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1" h="748">
                  <a:moveTo>
                    <a:pt x="322" y="535"/>
                  </a:moveTo>
                  <a:lnTo>
                    <a:pt x="854" y="0"/>
                  </a:lnTo>
                  <a:lnTo>
                    <a:pt x="961" y="106"/>
                  </a:lnTo>
                  <a:lnTo>
                    <a:pt x="322" y="748"/>
                  </a:lnTo>
                  <a:lnTo>
                    <a:pt x="0" y="426"/>
                  </a:lnTo>
                  <a:lnTo>
                    <a:pt x="109" y="319"/>
                  </a:lnTo>
                  <a:lnTo>
                    <a:pt x="322" y="535"/>
                  </a:ln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79"/>
            <p:cNvSpPr>
              <a:spLocks/>
            </p:cNvSpPr>
            <p:nvPr/>
          </p:nvSpPr>
          <p:spPr bwMode="auto">
            <a:xfrm>
              <a:off x="6074825" y="5137230"/>
              <a:ext cx="1307868" cy="1017984"/>
            </a:xfrm>
            <a:custGeom>
              <a:avLst/>
              <a:gdLst>
                <a:gd name="T0" fmla="*/ 322 w 961"/>
                <a:gd name="T1" fmla="*/ 535 h 748"/>
                <a:gd name="T2" fmla="*/ 854 w 961"/>
                <a:gd name="T3" fmla="*/ 0 h 748"/>
                <a:gd name="T4" fmla="*/ 961 w 961"/>
                <a:gd name="T5" fmla="*/ 106 h 748"/>
                <a:gd name="T6" fmla="*/ 322 w 961"/>
                <a:gd name="T7" fmla="*/ 748 h 748"/>
                <a:gd name="T8" fmla="*/ 0 w 961"/>
                <a:gd name="T9" fmla="*/ 426 h 748"/>
                <a:gd name="T10" fmla="*/ 109 w 961"/>
                <a:gd name="T11" fmla="*/ 319 h 748"/>
                <a:gd name="T12" fmla="*/ 322 w 961"/>
                <a:gd name="T13" fmla="*/ 535 h 7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961" h="748">
                  <a:moveTo>
                    <a:pt x="322" y="535"/>
                  </a:moveTo>
                  <a:lnTo>
                    <a:pt x="854" y="0"/>
                  </a:lnTo>
                  <a:lnTo>
                    <a:pt x="961" y="106"/>
                  </a:lnTo>
                  <a:lnTo>
                    <a:pt x="322" y="748"/>
                  </a:lnTo>
                  <a:lnTo>
                    <a:pt x="0" y="426"/>
                  </a:lnTo>
                  <a:lnTo>
                    <a:pt x="109" y="319"/>
                  </a:lnTo>
                  <a:lnTo>
                    <a:pt x="322" y="535"/>
                  </a:lnTo>
                  <a:close/>
                </a:path>
              </a:pathLst>
            </a:custGeom>
            <a:solidFill>
              <a:srgbClr val="AAB41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grpSp>
          <p:nvGrpSpPr>
            <p:cNvPr id="57" name="Group 4"/>
            <p:cNvGrpSpPr>
              <a:grpSpLocks noChangeAspect="1"/>
            </p:cNvGrpSpPr>
            <p:nvPr/>
          </p:nvGrpSpPr>
          <p:grpSpPr bwMode="auto">
            <a:xfrm>
              <a:off x="2155063" y="4831038"/>
              <a:ext cx="893298" cy="866214"/>
              <a:chOff x="2050" y="1164"/>
              <a:chExt cx="2771" cy="2687"/>
            </a:xfrm>
          </p:grpSpPr>
          <p:sp>
            <p:nvSpPr>
              <p:cNvPr id="72" name="Freeform 5"/>
              <p:cNvSpPr>
                <a:spLocks/>
              </p:cNvSpPr>
              <p:nvPr/>
            </p:nvSpPr>
            <p:spPr bwMode="auto">
              <a:xfrm>
                <a:off x="2050" y="1207"/>
                <a:ext cx="519" cy="2118"/>
              </a:xfrm>
              <a:custGeom>
                <a:avLst/>
                <a:gdLst>
                  <a:gd name="T0" fmla="*/ 73 w 73"/>
                  <a:gd name="T1" fmla="*/ 0 h 298"/>
                  <a:gd name="T2" fmla="*/ 0 w 73"/>
                  <a:gd name="T3" fmla="*/ 163 h 298"/>
                  <a:gd name="T4" fmla="*/ 73 w 73"/>
                  <a:gd name="T5" fmla="*/ 291 h 298"/>
                  <a:gd name="T6" fmla="*/ 73 w 73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8">
                    <a:moveTo>
                      <a:pt x="73" y="0"/>
                    </a:moveTo>
                    <a:cubicBezTo>
                      <a:pt x="73" y="0"/>
                      <a:pt x="0" y="5"/>
                      <a:pt x="0" y="163"/>
                    </a:cubicBezTo>
                    <a:cubicBezTo>
                      <a:pt x="0" y="298"/>
                      <a:pt x="73" y="291"/>
                      <a:pt x="73" y="291"/>
                    </a:cubicBez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3" name="Freeform 6"/>
              <p:cNvSpPr>
                <a:spLocks/>
              </p:cNvSpPr>
              <p:nvPr/>
            </p:nvSpPr>
            <p:spPr bwMode="auto">
              <a:xfrm>
                <a:off x="4302" y="1164"/>
                <a:ext cx="519" cy="2118"/>
              </a:xfrm>
              <a:custGeom>
                <a:avLst/>
                <a:gdLst>
                  <a:gd name="T0" fmla="*/ 0 w 73"/>
                  <a:gd name="T1" fmla="*/ 6 h 297"/>
                  <a:gd name="T2" fmla="*/ 73 w 73"/>
                  <a:gd name="T3" fmla="*/ 169 h 297"/>
                  <a:gd name="T4" fmla="*/ 0 w 73"/>
                  <a:gd name="T5" fmla="*/ 297 h 297"/>
                  <a:gd name="T6" fmla="*/ 0 w 73"/>
                  <a:gd name="T7" fmla="*/ 6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7">
                    <a:moveTo>
                      <a:pt x="0" y="6"/>
                    </a:moveTo>
                    <a:cubicBezTo>
                      <a:pt x="0" y="6"/>
                      <a:pt x="73" y="0"/>
                      <a:pt x="73" y="169"/>
                    </a:cubicBezTo>
                    <a:cubicBezTo>
                      <a:pt x="73" y="294"/>
                      <a:pt x="0" y="297"/>
                      <a:pt x="0" y="297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4" name="Freeform 7"/>
              <p:cNvSpPr>
                <a:spLocks/>
              </p:cNvSpPr>
              <p:nvPr/>
            </p:nvSpPr>
            <p:spPr bwMode="auto">
              <a:xfrm>
                <a:off x="2412" y="1207"/>
                <a:ext cx="2071" cy="2075"/>
              </a:xfrm>
              <a:custGeom>
                <a:avLst/>
                <a:gdLst>
                  <a:gd name="T0" fmla="*/ 284 w 284"/>
                  <a:gd name="T1" fmla="*/ 267 h 292"/>
                  <a:gd name="T2" fmla="*/ 259 w 284"/>
                  <a:gd name="T3" fmla="*/ 292 h 292"/>
                  <a:gd name="T4" fmla="*/ 25 w 284"/>
                  <a:gd name="T5" fmla="*/ 292 h 292"/>
                  <a:gd name="T6" fmla="*/ 0 w 284"/>
                  <a:gd name="T7" fmla="*/ 267 h 292"/>
                  <a:gd name="T8" fmla="*/ 0 w 284"/>
                  <a:gd name="T9" fmla="*/ 25 h 292"/>
                  <a:gd name="T10" fmla="*/ 25 w 284"/>
                  <a:gd name="T11" fmla="*/ 0 h 292"/>
                  <a:gd name="T12" fmla="*/ 259 w 284"/>
                  <a:gd name="T13" fmla="*/ 0 h 292"/>
                  <a:gd name="T14" fmla="*/ 284 w 284"/>
                  <a:gd name="T15" fmla="*/ 25 h 292"/>
                  <a:gd name="T16" fmla="*/ 284 w 284"/>
                  <a:gd name="T17" fmla="*/ 26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292">
                    <a:moveTo>
                      <a:pt x="284" y="267"/>
                    </a:moveTo>
                    <a:cubicBezTo>
                      <a:pt x="284" y="281"/>
                      <a:pt x="273" y="292"/>
                      <a:pt x="259" y="292"/>
                    </a:cubicBezTo>
                    <a:cubicBezTo>
                      <a:pt x="25" y="292"/>
                      <a:pt x="25" y="292"/>
                      <a:pt x="25" y="292"/>
                    </a:cubicBezTo>
                    <a:cubicBezTo>
                      <a:pt x="11" y="292"/>
                      <a:pt x="0" y="281"/>
                      <a:pt x="0" y="2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2"/>
                      <a:pt x="11" y="0"/>
                      <a:pt x="25" y="0"/>
                    </a:cubicBezTo>
                    <a:cubicBezTo>
                      <a:pt x="259" y="0"/>
                      <a:pt x="259" y="0"/>
                      <a:pt x="259" y="0"/>
                    </a:cubicBezTo>
                    <a:cubicBezTo>
                      <a:pt x="273" y="0"/>
                      <a:pt x="284" y="12"/>
                      <a:pt x="284" y="25"/>
                    </a:cubicBezTo>
                    <a:lnTo>
                      <a:pt x="284" y="267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Rectangle 8"/>
              <p:cNvSpPr>
                <a:spLocks noChangeArrowheads="1"/>
              </p:cNvSpPr>
              <p:nvPr/>
            </p:nvSpPr>
            <p:spPr bwMode="auto">
              <a:xfrm>
                <a:off x="2746" y="1975"/>
                <a:ext cx="1386" cy="618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6" name="Oval 9"/>
              <p:cNvSpPr>
                <a:spLocks noChangeArrowheads="1"/>
              </p:cNvSpPr>
              <p:nvPr/>
            </p:nvSpPr>
            <p:spPr bwMode="auto">
              <a:xfrm>
                <a:off x="4224" y="1370"/>
                <a:ext cx="178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7" name="Oval 10"/>
              <p:cNvSpPr>
                <a:spLocks noChangeArrowheads="1"/>
              </p:cNvSpPr>
              <p:nvPr/>
            </p:nvSpPr>
            <p:spPr bwMode="auto">
              <a:xfrm>
                <a:off x="2441" y="1370"/>
                <a:ext cx="177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" name="Oval 11"/>
              <p:cNvSpPr>
                <a:spLocks noChangeArrowheads="1"/>
              </p:cNvSpPr>
              <p:nvPr/>
            </p:nvSpPr>
            <p:spPr bwMode="auto">
              <a:xfrm>
                <a:off x="4224" y="2970"/>
                <a:ext cx="178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9" name="Oval 12"/>
              <p:cNvSpPr>
                <a:spLocks noChangeArrowheads="1"/>
              </p:cNvSpPr>
              <p:nvPr/>
            </p:nvSpPr>
            <p:spPr bwMode="auto">
              <a:xfrm>
                <a:off x="2441" y="2970"/>
                <a:ext cx="177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0" name="Rectangle 13"/>
              <p:cNvSpPr>
                <a:spLocks noChangeArrowheads="1"/>
              </p:cNvSpPr>
              <p:nvPr/>
            </p:nvSpPr>
            <p:spPr bwMode="auto">
              <a:xfrm>
                <a:off x="3649" y="3282"/>
                <a:ext cx="476" cy="157"/>
              </a:xfrm>
              <a:prstGeom prst="rect">
                <a:avLst/>
              </a:pr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1" name="Freeform 15"/>
              <p:cNvSpPr>
                <a:spLocks/>
              </p:cNvSpPr>
              <p:nvPr/>
            </p:nvSpPr>
            <p:spPr bwMode="auto">
              <a:xfrm>
                <a:off x="3649" y="3695"/>
                <a:ext cx="476" cy="156"/>
              </a:xfrm>
              <a:custGeom>
                <a:avLst/>
                <a:gdLst>
                  <a:gd name="T0" fmla="*/ 60 w 67"/>
                  <a:gd name="T1" fmla="*/ 22 h 22"/>
                  <a:gd name="T2" fmla="*/ 6 w 67"/>
                  <a:gd name="T3" fmla="*/ 22 h 22"/>
                  <a:gd name="T4" fmla="*/ 0 w 67"/>
                  <a:gd name="T5" fmla="*/ 15 h 22"/>
                  <a:gd name="T6" fmla="*/ 0 w 67"/>
                  <a:gd name="T7" fmla="*/ 6 h 22"/>
                  <a:gd name="T8" fmla="*/ 6 w 67"/>
                  <a:gd name="T9" fmla="*/ 0 h 22"/>
                  <a:gd name="T10" fmla="*/ 60 w 67"/>
                  <a:gd name="T11" fmla="*/ 0 h 22"/>
                  <a:gd name="T12" fmla="*/ 67 w 67"/>
                  <a:gd name="T13" fmla="*/ 6 h 22"/>
                  <a:gd name="T14" fmla="*/ 67 w 67"/>
                  <a:gd name="T15" fmla="*/ 15 h 22"/>
                  <a:gd name="T16" fmla="*/ 60 w 67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22">
                    <a:moveTo>
                      <a:pt x="60" y="22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3" y="22"/>
                      <a:pt x="0" y="19"/>
                      <a:pt x="0" y="1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4" y="0"/>
                      <a:pt x="67" y="3"/>
                      <a:pt x="67" y="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7" y="19"/>
                      <a:pt x="64" y="22"/>
                      <a:pt x="60" y="22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2" name="Freeform 16"/>
              <p:cNvSpPr>
                <a:spLocks/>
              </p:cNvSpPr>
              <p:nvPr/>
            </p:nvSpPr>
            <p:spPr bwMode="auto">
              <a:xfrm>
                <a:off x="3549" y="3389"/>
                <a:ext cx="675" cy="405"/>
              </a:xfrm>
              <a:custGeom>
                <a:avLst/>
                <a:gdLst>
                  <a:gd name="T0" fmla="*/ 91 w 95"/>
                  <a:gd name="T1" fmla="*/ 57 h 57"/>
                  <a:gd name="T2" fmla="*/ 4 w 95"/>
                  <a:gd name="T3" fmla="*/ 57 h 57"/>
                  <a:gd name="T4" fmla="*/ 0 w 95"/>
                  <a:gd name="T5" fmla="*/ 53 h 57"/>
                  <a:gd name="T6" fmla="*/ 0 w 95"/>
                  <a:gd name="T7" fmla="*/ 4 h 57"/>
                  <a:gd name="T8" fmla="*/ 4 w 95"/>
                  <a:gd name="T9" fmla="*/ 0 h 57"/>
                  <a:gd name="T10" fmla="*/ 91 w 95"/>
                  <a:gd name="T11" fmla="*/ 0 h 57"/>
                  <a:gd name="T12" fmla="*/ 95 w 95"/>
                  <a:gd name="T13" fmla="*/ 4 h 57"/>
                  <a:gd name="T14" fmla="*/ 95 w 95"/>
                  <a:gd name="T15" fmla="*/ 53 h 57"/>
                  <a:gd name="T16" fmla="*/ 91 w 95"/>
                  <a:gd name="T17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5" h="57">
                    <a:moveTo>
                      <a:pt x="91" y="57"/>
                    </a:moveTo>
                    <a:cubicBezTo>
                      <a:pt x="4" y="57"/>
                      <a:pt x="4" y="57"/>
                      <a:pt x="4" y="57"/>
                    </a:cubicBezTo>
                    <a:cubicBezTo>
                      <a:pt x="2" y="57"/>
                      <a:pt x="0" y="55"/>
                      <a:pt x="0" y="5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3" y="0"/>
                      <a:pt x="95" y="2"/>
                      <a:pt x="95" y="4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5"/>
                      <a:pt x="93" y="57"/>
                      <a:pt x="91" y="57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3" name="Rectangle 17"/>
              <p:cNvSpPr>
                <a:spLocks noChangeArrowheads="1"/>
              </p:cNvSpPr>
              <p:nvPr/>
            </p:nvSpPr>
            <p:spPr bwMode="auto">
              <a:xfrm>
                <a:off x="3627" y="3389"/>
                <a:ext cx="334" cy="405"/>
              </a:xfrm>
              <a:prstGeom prst="rect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58" name="Group 4"/>
            <p:cNvGrpSpPr>
              <a:grpSpLocks noChangeAspect="1"/>
            </p:cNvGrpSpPr>
            <p:nvPr/>
          </p:nvGrpSpPr>
          <p:grpSpPr bwMode="auto">
            <a:xfrm>
              <a:off x="2155063" y="3231081"/>
              <a:ext cx="893298" cy="866214"/>
              <a:chOff x="2050" y="1164"/>
              <a:chExt cx="2771" cy="2687"/>
            </a:xfrm>
          </p:grpSpPr>
          <p:sp>
            <p:nvSpPr>
              <p:cNvPr id="60" name="Freeform 5"/>
              <p:cNvSpPr>
                <a:spLocks/>
              </p:cNvSpPr>
              <p:nvPr/>
            </p:nvSpPr>
            <p:spPr bwMode="auto">
              <a:xfrm>
                <a:off x="2050" y="1207"/>
                <a:ext cx="519" cy="2118"/>
              </a:xfrm>
              <a:custGeom>
                <a:avLst/>
                <a:gdLst>
                  <a:gd name="T0" fmla="*/ 73 w 73"/>
                  <a:gd name="T1" fmla="*/ 0 h 298"/>
                  <a:gd name="T2" fmla="*/ 0 w 73"/>
                  <a:gd name="T3" fmla="*/ 163 h 298"/>
                  <a:gd name="T4" fmla="*/ 73 w 73"/>
                  <a:gd name="T5" fmla="*/ 291 h 298"/>
                  <a:gd name="T6" fmla="*/ 73 w 73"/>
                  <a:gd name="T7" fmla="*/ 0 h 2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8">
                    <a:moveTo>
                      <a:pt x="73" y="0"/>
                    </a:moveTo>
                    <a:cubicBezTo>
                      <a:pt x="73" y="0"/>
                      <a:pt x="0" y="5"/>
                      <a:pt x="0" y="163"/>
                    </a:cubicBezTo>
                    <a:cubicBezTo>
                      <a:pt x="0" y="298"/>
                      <a:pt x="73" y="291"/>
                      <a:pt x="73" y="291"/>
                    </a:cubicBezTo>
                    <a:lnTo>
                      <a:pt x="73" y="0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1" name="Freeform 6"/>
              <p:cNvSpPr>
                <a:spLocks/>
              </p:cNvSpPr>
              <p:nvPr/>
            </p:nvSpPr>
            <p:spPr bwMode="auto">
              <a:xfrm>
                <a:off x="4302" y="1164"/>
                <a:ext cx="519" cy="2118"/>
              </a:xfrm>
              <a:custGeom>
                <a:avLst/>
                <a:gdLst>
                  <a:gd name="T0" fmla="*/ 0 w 73"/>
                  <a:gd name="T1" fmla="*/ 6 h 297"/>
                  <a:gd name="T2" fmla="*/ 73 w 73"/>
                  <a:gd name="T3" fmla="*/ 169 h 297"/>
                  <a:gd name="T4" fmla="*/ 0 w 73"/>
                  <a:gd name="T5" fmla="*/ 297 h 297"/>
                  <a:gd name="T6" fmla="*/ 0 w 73"/>
                  <a:gd name="T7" fmla="*/ 6 h 2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73" h="297">
                    <a:moveTo>
                      <a:pt x="0" y="6"/>
                    </a:moveTo>
                    <a:cubicBezTo>
                      <a:pt x="0" y="6"/>
                      <a:pt x="73" y="0"/>
                      <a:pt x="73" y="169"/>
                    </a:cubicBezTo>
                    <a:cubicBezTo>
                      <a:pt x="73" y="294"/>
                      <a:pt x="0" y="297"/>
                      <a:pt x="0" y="297"/>
                    </a:cubicBezTo>
                    <a:lnTo>
                      <a:pt x="0" y="6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2" name="Freeform 7"/>
              <p:cNvSpPr>
                <a:spLocks/>
              </p:cNvSpPr>
              <p:nvPr/>
            </p:nvSpPr>
            <p:spPr bwMode="auto">
              <a:xfrm>
                <a:off x="2412" y="1207"/>
                <a:ext cx="2071" cy="2075"/>
              </a:xfrm>
              <a:custGeom>
                <a:avLst/>
                <a:gdLst>
                  <a:gd name="T0" fmla="*/ 284 w 284"/>
                  <a:gd name="T1" fmla="*/ 267 h 292"/>
                  <a:gd name="T2" fmla="*/ 259 w 284"/>
                  <a:gd name="T3" fmla="*/ 292 h 292"/>
                  <a:gd name="T4" fmla="*/ 25 w 284"/>
                  <a:gd name="T5" fmla="*/ 292 h 292"/>
                  <a:gd name="T6" fmla="*/ 0 w 284"/>
                  <a:gd name="T7" fmla="*/ 267 h 292"/>
                  <a:gd name="T8" fmla="*/ 0 w 284"/>
                  <a:gd name="T9" fmla="*/ 25 h 292"/>
                  <a:gd name="T10" fmla="*/ 25 w 284"/>
                  <a:gd name="T11" fmla="*/ 0 h 292"/>
                  <a:gd name="T12" fmla="*/ 259 w 284"/>
                  <a:gd name="T13" fmla="*/ 0 h 292"/>
                  <a:gd name="T14" fmla="*/ 284 w 284"/>
                  <a:gd name="T15" fmla="*/ 25 h 292"/>
                  <a:gd name="T16" fmla="*/ 284 w 284"/>
                  <a:gd name="T17" fmla="*/ 267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84" h="292">
                    <a:moveTo>
                      <a:pt x="284" y="267"/>
                    </a:moveTo>
                    <a:cubicBezTo>
                      <a:pt x="284" y="281"/>
                      <a:pt x="273" y="292"/>
                      <a:pt x="259" y="292"/>
                    </a:cubicBezTo>
                    <a:cubicBezTo>
                      <a:pt x="25" y="292"/>
                      <a:pt x="25" y="292"/>
                      <a:pt x="25" y="292"/>
                    </a:cubicBezTo>
                    <a:cubicBezTo>
                      <a:pt x="11" y="292"/>
                      <a:pt x="0" y="281"/>
                      <a:pt x="0" y="267"/>
                    </a:cubicBezTo>
                    <a:cubicBezTo>
                      <a:pt x="0" y="25"/>
                      <a:pt x="0" y="25"/>
                      <a:pt x="0" y="25"/>
                    </a:cubicBezTo>
                    <a:cubicBezTo>
                      <a:pt x="0" y="12"/>
                      <a:pt x="11" y="0"/>
                      <a:pt x="25" y="0"/>
                    </a:cubicBezTo>
                    <a:cubicBezTo>
                      <a:pt x="259" y="0"/>
                      <a:pt x="259" y="0"/>
                      <a:pt x="259" y="0"/>
                    </a:cubicBezTo>
                    <a:cubicBezTo>
                      <a:pt x="273" y="0"/>
                      <a:pt x="284" y="12"/>
                      <a:pt x="284" y="25"/>
                    </a:cubicBezTo>
                    <a:lnTo>
                      <a:pt x="284" y="267"/>
                    </a:lnTo>
                    <a:close/>
                  </a:path>
                </a:pathLst>
              </a:custGeom>
              <a:solidFill>
                <a:srgbClr val="0F828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3" name="Rectangle 8"/>
              <p:cNvSpPr>
                <a:spLocks noChangeArrowheads="1"/>
              </p:cNvSpPr>
              <p:nvPr/>
            </p:nvSpPr>
            <p:spPr bwMode="auto">
              <a:xfrm>
                <a:off x="2746" y="1975"/>
                <a:ext cx="1386" cy="618"/>
              </a:xfrm>
              <a:prstGeom prst="rect">
                <a:avLst/>
              </a:prstGeom>
              <a:solidFill>
                <a:srgbClr val="AAE6F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4" name="Oval 9"/>
              <p:cNvSpPr>
                <a:spLocks noChangeArrowheads="1"/>
              </p:cNvSpPr>
              <p:nvPr/>
            </p:nvSpPr>
            <p:spPr bwMode="auto">
              <a:xfrm>
                <a:off x="4224" y="1370"/>
                <a:ext cx="178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5" name="Oval 10"/>
              <p:cNvSpPr>
                <a:spLocks noChangeArrowheads="1"/>
              </p:cNvSpPr>
              <p:nvPr/>
            </p:nvSpPr>
            <p:spPr bwMode="auto">
              <a:xfrm>
                <a:off x="2441" y="1370"/>
                <a:ext cx="177" cy="178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6" name="Oval 11"/>
              <p:cNvSpPr>
                <a:spLocks noChangeArrowheads="1"/>
              </p:cNvSpPr>
              <p:nvPr/>
            </p:nvSpPr>
            <p:spPr bwMode="auto">
              <a:xfrm>
                <a:off x="4224" y="2970"/>
                <a:ext cx="178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7" name="Oval 12"/>
              <p:cNvSpPr>
                <a:spLocks noChangeArrowheads="1"/>
              </p:cNvSpPr>
              <p:nvPr/>
            </p:nvSpPr>
            <p:spPr bwMode="auto">
              <a:xfrm>
                <a:off x="2441" y="2970"/>
                <a:ext cx="177" cy="177"/>
              </a:xfrm>
              <a:prstGeom prst="ellipse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8" name="Rectangle 13"/>
              <p:cNvSpPr>
                <a:spLocks noChangeArrowheads="1"/>
              </p:cNvSpPr>
              <p:nvPr/>
            </p:nvSpPr>
            <p:spPr bwMode="auto">
              <a:xfrm>
                <a:off x="3649" y="3282"/>
                <a:ext cx="476" cy="157"/>
              </a:xfrm>
              <a:prstGeom prst="rect">
                <a:avLst/>
              </a:pr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69" name="Freeform 15"/>
              <p:cNvSpPr>
                <a:spLocks/>
              </p:cNvSpPr>
              <p:nvPr/>
            </p:nvSpPr>
            <p:spPr bwMode="auto">
              <a:xfrm>
                <a:off x="3649" y="3695"/>
                <a:ext cx="476" cy="156"/>
              </a:xfrm>
              <a:custGeom>
                <a:avLst/>
                <a:gdLst>
                  <a:gd name="T0" fmla="*/ 60 w 67"/>
                  <a:gd name="T1" fmla="*/ 22 h 22"/>
                  <a:gd name="T2" fmla="*/ 6 w 67"/>
                  <a:gd name="T3" fmla="*/ 22 h 22"/>
                  <a:gd name="T4" fmla="*/ 0 w 67"/>
                  <a:gd name="T5" fmla="*/ 15 h 22"/>
                  <a:gd name="T6" fmla="*/ 0 w 67"/>
                  <a:gd name="T7" fmla="*/ 6 h 22"/>
                  <a:gd name="T8" fmla="*/ 6 w 67"/>
                  <a:gd name="T9" fmla="*/ 0 h 22"/>
                  <a:gd name="T10" fmla="*/ 60 w 67"/>
                  <a:gd name="T11" fmla="*/ 0 h 22"/>
                  <a:gd name="T12" fmla="*/ 67 w 67"/>
                  <a:gd name="T13" fmla="*/ 6 h 22"/>
                  <a:gd name="T14" fmla="*/ 67 w 67"/>
                  <a:gd name="T15" fmla="*/ 15 h 22"/>
                  <a:gd name="T16" fmla="*/ 60 w 67"/>
                  <a:gd name="T17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7" h="22">
                    <a:moveTo>
                      <a:pt x="60" y="22"/>
                    </a:moveTo>
                    <a:cubicBezTo>
                      <a:pt x="6" y="22"/>
                      <a:pt x="6" y="22"/>
                      <a:pt x="6" y="22"/>
                    </a:cubicBezTo>
                    <a:cubicBezTo>
                      <a:pt x="3" y="22"/>
                      <a:pt x="0" y="19"/>
                      <a:pt x="0" y="15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60" y="0"/>
                      <a:pt x="60" y="0"/>
                      <a:pt x="60" y="0"/>
                    </a:cubicBezTo>
                    <a:cubicBezTo>
                      <a:pt x="64" y="0"/>
                      <a:pt x="67" y="3"/>
                      <a:pt x="67" y="6"/>
                    </a:cubicBezTo>
                    <a:cubicBezTo>
                      <a:pt x="67" y="15"/>
                      <a:pt x="67" y="15"/>
                      <a:pt x="67" y="15"/>
                    </a:cubicBezTo>
                    <a:cubicBezTo>
                      <a:pt x="67" y="19"/>
                      <a:pt x="64" y="22"/>
                      <a:pt x="60" y="22"/>
                    </a:cubicBezTo>
                    <a:close/>
                  </a:path>
                </a:pathLst>
              </a:custGeom>
              <a:solidFill>
                <a:srgbClr val="00646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0" name="Freeform 16"/>
              <p:cNvSpPr>
                <a:spLocks/>
              </p:cNvSpPr>
              <p:nvPr/>
            </p:nvSpPr>
            <p:spPr bwMode="auto">
              <a:xfrm>
                <a:off x="3549" y="3389"/>
                <a:ext cx="675" cy="405"/>
              </a:xfrm>
              <a:custGeom>
                <a:avLst/>
                <a:gdLst>
                  <a:gd name="T0" fmla="*/ 91 w 95"/>
                  <a:gd name="T1" fmla="*/ 57 h 57"/>
                  <a:gd name="T2" fmla="*/ 4 w 95"/>
                  <a:gd name="T3" fmla="*/ 57 h 57"/>
                  <a:gd name="T4" fmla="*/ 0 w 95"/>
                  <a:gd name="T5" fmla="*/ 53 h 57"/>
                  <a:gd name="T6" fmla="*/ 0 w 95"/>
                  <a:gd name="T7" fmla="*/ 4 h 57"/>
                  <a:gd name="T8" fmla="*/ 4 w 95"/>
                  <a:gd name="T9" fmla="*/ 0 h 57"/>
                  <a:gd name="T10" fmla="*/ 91 w 95"/>
                  <a:gd name="T11" fmla="*/ 0 h 57"/>
                  <a:gd name="T12" fmla="*/ 95 w 95"/>
                  <a:gd name="T13" fmla="*/ 4 h 57"/>
                  <a:gd name="T14" fmla="*/ 95 w 95"/>
                  <a:gd name="T15" fmla="*/ 53 h 57"/>
                  <a:gd name="T16" fmla="*/ 91 w 95"/>
                  <a:gd name="T17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5" h="57">
                    <a:moveTo>
                      <a:pt x="91" y="57"/>
                    </a:moveTo>
                    <a:cubicBezTo>
                      <a:pt x="4" y="57"/>
                      <a:pt x="4" y="57"/>
                      <a:pt x="4" y="57"/>
                    </a:cubicBezTo>
                    <a:cubicBezTo>
                      <a:pt x="2" y="57"/>
                      <a:pt x="0" y="55"/>
                      <a:pt x="0" y="53"/>
                    </a:cubicBezTo>
                    <a:cubicBezTo>
                      <a:pt x="0" y="4"/>
                      <a:pt x="0" y="4"/>
                      <a:pt x="0" y="4"/>
                    </a:cubicBezTo>
                    <a:cubicBezTo>
                      <a:pt x="0" y="2"/>
                      <a:pt x="2" y="0"/>
                      <a:pt x="4" y="0"/>
                    </a:cubicBezTo>
                    <a:cubicBezTo>
                      <a:pt x="91" y="0"/>
                      <a:pt x="91" y="0"/>
                      <a:pt x="91" y="0"/>
                    </a:cubicBezTo>
                    <a:cubicBezTo>
                      <a:pt x="93" y="0"/>
                      <a:pt x="95" y="2"/>
                      <a:pt x="95" y="4"/>
                    </a:cubicBezTo>
                    <a:cubicBezTo>
                      <a:pt x="95" y="53"/>
                      <a:pt x="95" y="53"/>
                      <a:pt x="95" y="53"/>
                    </a:cubicBezTo>
                    <a:cubicBezTo>
                      <a:pt x="95" y="55"/>
                      <a:pt x="93" y="57"/>
                      <a:pt x="91" y="57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1" name="Rectangle 17"/>
              <p:cNvSpPr>
                <a:spLocks noChangeArrowheads="1"/>
              </p:cNvSpPr>
              <p:nvPr/>
            </p:nvSpPr>
            <p:spPr bwMode="auto">
              <a:xfrm>
                <a:off x="3627" y="3389"/>
                <a:ext cx="334" cy="405"/>
              </a:xfrm>
              <a:prstGeom prst="rect">
                <a:avLst/>
              </a:prstGeom>
              <a:solidFill>
                <a:srgbClr val="4BB9B9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59" name="Rechteck 15"/>
            <p:cNvSpPr/>
            <p:nvPr/>
          </p:nvSpPr>
          <p:spPr bwMode="auto">
            <a:xfrm>
              <a:off x="4974785" y="3289011"/>
              <a:ext cx="265659" cy="26565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405" name="Группа 404"/>
          <p:cNvGrpSpPr/>
          <p:nvPr/>
        </p:nvGrpSpPr>
        <p:grpSpPr>
          <a:xfrm>
            <a:off x="950603" y="2114636"/>
            <a:ext cx="5796644" cy="3731568"/>
            <a:chOff x="3614955" y="1449388"/>
            <a:chExt cx="8048786" cy="4239046"/>
          </a:xfrm>
        </p:grpSpPr>
        <p:grpSp>
          <p:nvGrpSpPr>
            <p:cNvPr id="406" name="Gruppieren 5"/>
            <p:cNvGrpSpPr/>
            <p:nvPr/>
          </p:nvGrpSpPr>
          <p:grpSpPr>
            <a:xfrm>
              <a:off x="7863827" y="1449388"/>
              <a:ext cx="2088100" cy="4231336"/>
              <a:chOff x="7863827" y="1449388"/>
              <a:chExt cx="2088100" cy="4231336"/>
            </a:xfrm>
          </p:grpSpPr>
          <p:sp>
            <p:nvSpPr>
              <p:cNvPr id="532" name="Rechteck 2"/>
              <p:cNvSpPr/>
              <p:nvPr/>
            </p:nvSpPr>
            <p:spPr bwMode="auto">
              <a:xfrm>
                <a:off x="7863827" y="1449388"/>
                <a:ext cx="721544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numCol="1" spcCol="72000" rtlCol="0" anchor="t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2000" b="1" dirty="0" smtClean="0">
                    <a:solidFill>
                      <a:schemeClr val="accent1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Test 2</a:t>
                </a:r>
              </a:p>
            </p:txBody>
          </p:sp>
          <p:cxnSp>
            <p:nvCxnSpPr>
              <p:cNvPr id="533" name="Gerade Verbindung 336"/>
              <p:cNvCxnSpPr/>
              <p:nvPr/>
            </p:nvCxnSpPr>
            <p:spPr bwMode="auto">
              <a:xfrm>
                <a:off x="9079267" y="3084048"/>
                <a:ext cx="4637" cy="1457196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34" name="Gerade Verbindung 337"/>
              <p:cNvCxnSpPr/>
              <p:nvPr/>
            </p:nvCxnSpPr>
            <p:spPr bwMode="auto">
              <a:xfrm>
                <a:off x="9231667" y="3084048"/>
                <a:ext cx="6135" cy="1457196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535" name="Group 4"/>
              <p:cNvGrpSpPr>
                <a:grpSpLocks noChangeAspect="1"/>
              </p:cNvGrpSpPr>
              <p:nvPr/>
            </p:nvGrpSpPr>
            <p:grpSpPr bwMode="auto">
              <a:xfrm>
                <a:off x="7863927" y="4460417"/>
                <a:ext cx="2088000" cy="1220307"/>
                <a:chOff x="147" y="0"/>
                <a:chExt cx="6336" cy="3703"/>
              </a:xfrm>
            </p:grpSpPr>
            <p:sp>
              <p:nvSpPr>
                <p:cNvPr id="539" name="Freeform 5"/>
                <p:cNvSpPr>
                  <a:spLocks/>
                </p:cNvSpPr>
                <p:nvPr/>
              </p:nvSpPr>
              <p:spPr bwMode="auto">
                <a:xfrm>
                  <a:off x="147" y="0"/>
                  <a:ext cx="6336" cy="3703"/>
                </a:xfrm>
                <a:custGeom>
                  <a:avLst/>
                  <a:gdLst>
                    <a:gd name="T0" fmla="*/ 1804 w 1833"/>
                    <a:gd name="T1" fmla="*/ 1071 h 1071"/>
                    <a:gd name="T2" fmla="*/ 29 w 1833"/>
                    <a:gd name="T3" fmla="*/ 1071 h 1071"/>
                    <a:gd name="T4" fmla="*/ 0 w 1833"/>
                    <a:gd name="T5" fmla="*/ 1042 h 1071"/>
                    <a:gd name="T6" fmla="*/ 0 w 1833"/>
                    <a:gd name="T7" fmla="*/ 29 h 1071"/>
                    <a:gd name="T8" fmla="*/ 29 w 1833"/>
                    <a:gd name="T9" fmla="*/ 0 h 1071"/>
                    <a:gd name="T10" fmla="*/ 1804 w 1833"/>
                    <a:gd name="T11" fmla="*/ 0 h 1071"/>
                    <a:gd name="T12" fmla="*/ 1833 w 1833"/>
                    <a:gd name="T13" fmla="*/ 29 h 1071"/>
                    <a:gd name="T14" fmla="*/ 1833 w 1833"/>
                    <a:gd name="T15" fmla="*/ 1042 h 1071"/>
                    <a:gd name="T16" fmla="*/ 1804 w 1833"/>
                    <a:gd name="T17" fmla="*/ 1071 h 10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33" h="1071">
                      <a:moveTo>
                        <a:pt x="1804" y="1071"/>
                      </a:moveTo>
                      <a:cubicBezTo>
                        <a:pt x="29" y="1071"/>
                        <a:pt x="29" y="1071"/>
                        <a:pt x="29" y="1071"/>
                      </a:cubicBezTo>
                      <a:cubicBezTo>
                        <a:pt x="13" y="1071"/>
                        <a:pt x="0" y="1058"/>
                        <a:pt x="0" y="1042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1804" y="0"/>
                        <a:pt x="1804" y="0"/>
                        <a:pt x="1804" y="0"/>
                      </a:cubicBezTo>
                      <a:cubicBezTo>
                        <a:pt x="1820" y="0"/>
                        <a:pt x="1833" y="13"/>
                        <a:pt x="1833" y="29"/>
                      </a:cubicBezTo>
                      <a:cubicBezTo>
                        <a:pt x="1833" y="1042"/>
                        <a:pt x="1833" y="1042"/>
                        <a:pt x="1833" y="1042"/>
                      </a:cubicBezTo>
                      <a:cubicBezTo>
                        <a:pt x="1833" y="1058"/>
                        <a:pt x="1820" y="1071"/>
                        <a:pt x="1804" y="1071"/>
                      </a:cubicBezTo>
                      <a:close/>
                    </a:path>
                  </a:pathLst>
                </a:custGeom>
                <a:solidFill>
                  <a:srgbClr val="CDD9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0" name="Rectangle 6"/>
                <p:cNvSpPr>
                  <a:spLocks noChangeArrowheads="1"/>
                </p:cNvSpPr>
                <p:nvPr/>
              </p:nvSpPr>
              <p:spPr bwMode="auto">
                <a:xfrm>
                  <a:off x="147" y="920"/>
                  <a:ext cx="6336" cy="1863"/>
                </a:xfrm>
                <a:prstGeom prst="rect">
                  <a:avLst/>
                </a:prstGeom>
                <a:solidFill>
                  <a:srgbClr val="EBF0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1" name="Freeform 7"/>
                <p:cNvSpPr>
                  <a:spLocks/>
                </p:cNvSpPr>
                <p:nvPr/>
              </p:nvSpPr>
              <p:spPr bwMode="auto">
                <a:xfrm>
                  <a:off x="154" y="920"/>
                  <a:ext cx="1386" cy="1863"/>
                </a:xfrm>
                <a:custGeom>
                  <a:avLst/>
                  <a:gdLst>
                    <a:gd name="T0" fmla="*/ 357 w 401"/>
                    <a:gd name="T1" fmla="*/ 282 h 539"/>
                    <a:gd name="T2" fmla="*/ 401 w 401"/>
                    <a:gd name="T3" fmla="*/ 0 h 539"/>
                    <a:gd name="T4" fmla="*/ 0 w 401"/>
                    <a:gd name="T5" fmla="*/ 0 h 539"/>
                    <a:gd name="T6" fmla="*/ 0 w 401"/>
                    <a:gd name="T7" fmla="*/ 539 h 539"/>
                    <a:gd name="T8" fmla="*/ 393 w 401"/>
                    <a:gd name="T9" fmla="*/ 539 h 539"/>
                    <a:gd name="T10" fmla="*/ 357 w 401"/>
                    <a:gd name="T11" fmla="*/ 282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1" h="539">
                      <a:moveTo>
                        <a:pt x="357" y="282"/>
                      </a:moveTo>
                      <a:cubicBezTo>
                        <a:pt x="357" y="180"/>
                        <a:pt x="373" y="84"/>
                        <a:pt x="40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39"/>
                        <a:pt x="0" y="539"/>
                        <a:pt x="0" y="539"/>
                      </a:cubicBezTo>
                      <a:cubicBezTo>
                        <a:pt x="393" y="539"/>
                        <a:pt x="393" y="539"/>
                        <a:pt x="393" y="539"/>
                      </a:cubicBezTo>
                      <a:cubicBezTo>
                        <a:pt x="370" y="461"/>
                        <a:pt x="357" y="374"/>
                        <a:pt x="357" y="282"/>
                      </a:cubicBezTo>
                      <a:close/>
                    </a:path>
                  </a:pathLst>
                </a:custGeom>
                <a:solidFill>
                  <a:srgbClr val="DFE6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2" name="Rectangle 8"/>
                <p:cNvSpPr>
                  <a:spLocks noChangeArrowheads="1"/>
                </p:cNvSpPr>
                <p:nvPr/>
              </p:nvSpPr>
              <p:spPr bwMode="auto">
                <a:xfrm>
                  <a:off x="6227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3" name="Rectangle 9"/>
                <p:cNvSpPr>
                  <a:spLocks noChangeArrowheads="1"/>
                </p:cNvSpPr>
                <p:nvPr/>
              </p:nvSpPr>
              <p:spPr bwMode="auto">
                <a:xfrm>
                  <a:off x="5961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4" name="Rectangle 10"/>
                <p:cNvSpPr>
                  <a:spLocks noChangeArrowheads="1"/>
                </p:cNvSpPr>
                <p:nvPr/>
              </p:nvSpPr>
              <p:spPr bwMode="auto">
                <a:xfrm>
                  <a:off x="5695" y="2963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5" name="Rectangle 11"/>
                <p:cNvSpPr>
                  <a:spLocks noChangeArrowheads="1"/>
                </p:cNvSpPr>
                <p:nvPr/>
              </p:nvSpPr>
              <p:spPr bwMode="auto">
                <a:xfrm>
                  <a:off x="5425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6" name="Rectangle 12"/>
                <p:cNvSpPr>
                  <a:spLocks noChangeArrowheads="1"/>
                </p:cNvSpPr>
                <p:nvPr/>
              </p:nvSpPr>
              <p:spPr bwMode="auto">
                <a:xfrm>
                  <a:off x="5159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7" name="Rectangle 13"/>
                <p:cNvSpPr>
                  <a:spLocks noChangeArrowheads="1"/>
                </p:cNvSpPr>
                <p:nvPr/>
              </p:nvSpPr>
              <p:spPr bwMode="auto">
                <a:xfrm>
                  <a:off x="4889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8" name="Rectangle 14"/>
                <p:cNvSpPr>
                  <a:spLocks noChangeArrowheads="1"/>
                </p:cNvSpPr>
                <p:nvPr/>
              </p:nvSpPr>
              <p:spPr bwMode="auto">
                <a:xfrm>
                  <a:off x="4623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49" name="Rectangle 15"/>
                <p:cNvSpPr>
                  <a:spLocks noChangeArrowheads="1"/>
                </p:cNvSpPr>
                <p:nvPr/>
              </p:nvSpPr>
              <p:spPr bwMode="auto">
                <a:xfrm>
                  <a:off x="4354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0" name="Rectangle 16"/>
                <p:cNvSpPr>
                  <a:spLocks noChangeArrowheads="1"/>
                </p:cNvSpPr>
                <p:nvPr/>
              </p:nvSpPr>
              <p:spPr bwMode="auto">
                <a:xfrm>
                  <a:off x="4088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1" name="Rectangle 17"/>
                <p:cNvSpPr>
                  <a:spLocks noChangeArrowheads="1"/>
                </p:cNvSpPr>
                <p:nvPr/>
              </p:nvSpPr>
              <p:spPr bwMode="auto">
                <a:xfrm>
                  <a:off x="3821" y="2963"/>
                  <a:ext cx="56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2" name="Rectangle 18"/>
                <p:cNvSpPr>
                  <a:spLocks noChangeArrowheads="1"/>
                </p:cNvSpPr>
                <p:nvPr/>
              </p:nvSpPr>
              <p:spPr bwMode="auto">
                <a:xfrm>
                  <a:off x="3552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3" name="Rectangle 19"/>
                <p:cNvSpPr>
                  <a:spLocks noChangeArrowheads="1"/>
                </p:cNvSpPr>
                <p:nvPr/>
              </p:nvSpPr>
              <p:spPr bwMode="auto">
                <a:xfrm>
                  <a:off x="3286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4" name="Rectangle 20"/>
                <p:cNvSpPr>
                  <a:spLocks noChangeArrowheads="1"/>
                </p:cNvSpPr>
                <p:nvPr/>
              </p:nvSpPr>
              <p:spPr bwMode="auto">
                <a:xfrm>
                  <a:off x="3016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5" name="Rectangle 21"/>
                <p:cNvSpPr>
                  <a:spLocks noChangeArrowheads="1"/>
                </p:cNvSpPr>
                <p:nvPr/>
              </p:nvSpPr>
              <p:spPr bwMode="auto">
                <a:xfrm>
                  <a:off x="2750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6" name="Rectangle 22"/>
                <p:cNvSpPr>
                  <a:spLocks noChangeArrowheads="1"/>
                </p:cNvSpPr>
                <p:nvPr/>
              </p:nvSpPr>
              <p:spPr bwMode="auto">
                <a:xfrm>
                  <a:off x="2480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7" name="Rectangle 23"/>
                <p:cNvSpPr>
                  <a:spLocks noChangeArrowheads="1"/>
                </p:cNvSpPr>
                <p:nvPr/>
              </p:nvSpPr>
              <p:spPr bwMode="auto">
                <a:xfrm>
                  <a:off x="2214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8" name="Rectangle 24"/>
                <p:cNvSpPr>
                  <a:spLocks noChangeArrowheads="1"/>
                </p:cNvSpPr>
                <p:nvPr/>
              </p:nvSpPr>
              <p:spPr bwMode="auto">
                <a:xfrm>
                  <a:off x="1948" y="2963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9" name="Rectangle 25"/>
                <p:cNvSpPr>
                  <a:spLocks noChangeArrowheads="1"/>
                </p:cNvSpPr>
                <p:nvPr/>
              </p:nvSpPr>
              <p:spPr bwMode="auto">
                <a:xfrm>
                  <a:off x="1678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0" name="Rectangle 26"/>
                <p:cNvSpPr>
                  <a:spLocks noChangeArrowheads="1"/>
                </p:cNvSpPr>
                <p:nvPr/>
              </p:nvSpPr>
              <p:spPr bwMode="auto">
                <a:xfrm>
                  <a:off x="1412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1" name="Rectangle 27"/>
                <p:cNvSpPr>
                  <a:spLocks noChangeArrowheads="1"/>
                </p:cNvSpPr>
                <p:nvPr/>
              </p:nvSpPr>
              <p:spPr bwMode="auto">
                <a:xfrm>
                  <a:off x="1143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2" name="Rectangle 28"/>
                <p:cNvSpPr>
                  <a:spLocks noChangeArrowheads="1"/>
                </p:cNvSpPr>
                <p:nvPr/>
              </p:nvSpPr>
              <p:spPr bwMode="auto">
                <a:xfrm>
                  <a:off x="6089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3" name="Rectangle 29"/>
                <p:cNvSpPr>
                  <a:spLocks noChangeArrowheads="1"/>
                </p:cNvSpPr>
                <p:nvPr/>
              </p:nvSpPr>
              <p:spPr bwMode="auto">
                <a:xfrm>
                  <a:off x="5819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4" name="Rectangle 30"/>
                <p:cNvSpPr>
                  <a:spLocks noChangeArrowheads="1"/>
                </p:cNvSpPr>
                <p:nvPr/>
              </p:nvSpPr>
              <p:spPr bwMode="auto">
                <a:xfrm>
                  <a:off x="5553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5" name="Rectangle 31"/>
                <p:cNvSpPr>
                  <a:spLocks noChangeArrowheads="1"/>
                </p:cNvSpPr>
                <p:nvPr/>
              </p:nvSpPr>
              <p:spPr bwMode="auto">
                <a:xfrm>
                  <a:off x="5284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6" name="Rectangle 32"/>
                <p:cNvSpPr>
                  <a:spLocks noChangeArrowheads="1"/>
                </p:cNvSpPr>
                <p:nvPr/>
              </p:nvSpPr>
              <p:spPr bwMode="auto">
                <a:xfrm>
                  <a:off x="5017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7" name="Rectangle 33"/>
                <p:cNvSpPr>
                  <a:spLocks noChangeArrowheads="1"/>
                </p:cNvSpPr>
                <p:nvPr/>
              </p:nvSpPr>
              <p:spPr bwMode="auto">
                <a:xfrm>
                  <a:off x="4751" y="3292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8" name="Rectangle 34"/>
                <p:cNvSpPr>
                  <a:spLocks noChangeArrowheads="1"/>
                </p:cNvSpPr>
                <p:nvPr/>
              </p:nvSpPr>
              <p:spPr bwMode="auto">
                <a:xfrm>
                  <a:off x="4482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69" name="Rectangle 35"/>
                <p:cNvSpPr>
                  <a:spLocks noChangeArrowheads="1"/>
                </p:cNvSpPr>
                <p:nvPr/>
              </p:nvSpPr>
              <p:spPr bwMode="auto">
                <a:xfrm>
                  <a:off x="4215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0" name="Rectangle 36"/>
                <p:cNvSpPr>
                  <a:spLocks noChangeArrowheads="1"/>
                </p:cNvSpPr>
                <p:nvPr/>
              </p:nvSpPr>
              <p:spPr bwMode="auto">
                <a:xfrm>
                  <a:off x="3946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1" name="Rectangle 37"/>
                <p:cNvSpPr>
                  <a:spLocks noChangeArrowheads="1"/>
                </p:cNvSpPr>
                <p:nvPr/>
              </p:nvSpPr>
              <p:spPr bwMode="auto">
                <a:xfrm>
                  <a:off x="3680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2" name="Rectangle 38"/>
                <p:cNvSpPr>
                  <a:spLocks noChangeArrowheads="1"/>
                </p:cNvSpPr>
                <p:nvPr/>
              </p:nvSpPr>
              <p:spPr bwMode="auto">
                <a:xfrm>
                  <a:off x="3410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3" name="Rectangle 39"/>
                <p:cNvSpPr>
                  <a:spLocks noChangeArrowheads="1"/>
                </p:cNvSpPr>
                <p:nvPr/>
              </p:nvSpPr>
              <p:spPr bwMode="auto">
                <a:xfrm>
                  <a:off x="3144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4" name="Rectangle 40"/>
                <p:cNvSpPr>
                  <a:spLocks noChangeArrowheads="1"/>
                </p:cNvSpPr>
                <p:nvPr/>
              </p:nvSpPr>
              <p:spPr bwMode="auto">
                <a:xfrm>
                  <a:off x="2878" y="3292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5" name="Rectangle 41"/>
                <p:cNvSpPr>
                  <a:spLocks noChangeArrowheads="1"/>
                </p:cNvSpPr>
                <p:nvPr/>
              </p:nvSpPr>
              <p:spPr bwMode="auto">
                <a:xfrm>
                  <a:off x="2608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6" name="Rectangle 42"/>
                <p:cNvSpPr>
                  <a:spLocks noChangeArrowheads="1"/>
                </p:cNvSpPr>
                <p:nvPr/>
              </p:nvSpPr>
              <p:spPr bwMode="auto">
                <a:xfrm>
                  <a:off x="2342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7" name="Rectangle 43"/>
                <p:cNvSpPr>
                  <a:spLocks noChangeArrowheads="1"/>
                </p:cNvSpPr>
                <p:nvPr/>
              </p:nvSpPr>
              <p:spPr bwMode="auto">
                <a:xfrm>
                  <a:off x="2072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8" name="Rectangle 44"/>
                <p:cNvSpPr>
                  <a:spLocks noChangeArrowheads="1"/>
                </p:cNvSpPr>
                <p:nvPr/>
              </p:nvSpPr>
              <p:spPr bwMode="auto">
                <a:xfrm>
                  <a:off x="1806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79" name="Rectangle 45"/>
                <p:cNvSpPr>
                  <a:spLocks noChangeArrowheads="1"/>
                </p:cNvSpPr>
                <p:nvPr/>
              </p:nvSpPr>
              <p:spPr bwMode="auto">
                <a:xfrm>
                  <a:off x="1537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0" name="Rectangle 46"/>
                <p:cNvSpPr>
                  <a:spLocks noChangeArrowheads="1"/>
                </p:cNvSpPr>
                <p:nvPr/>
              </p:nvSpPr>
              <p:spPr bwMode="auto">
                <a:xfrm>
                  <a:off x="1270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1" name="Rectangle 47"/>
                <p:cNvSpPr>
                  <a:spLocks noChangeArrowheads="1"/>
                </p:cNvSpPr>
                <p:nvPr/>
              </p:nvSpPr>
              <p:spPr bwMode="auto">
                <a:xfrm>
                  <a:off x="1004" y="3292"/>
                  <a:ext cx="56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2" name="Rectangle 48"/>
                <p:cNvSpPr>
                  <a:spLocks noChangeArrowheads="1"/>
                </p:cNvSpPr>
                <p:nvPr/>
              </p:nvSpPr>
              <p:spPr bwMode="auto">
                <a:xfrm>
                  <a:off x="5595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3" name="Rectangle 49"/>
                <p:cNvSpPr>
                  <a:spLocks noChangeArrowheads="1"/>
                </p:cNvSpPr>
                <p:nvPr/>
              </p:nvSpPr>
              <p:spPr bwMode="auto">
                <a:xfrm>
                  <a:off x="5328" y="190"/>
                  <a:ext cx="56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4" name="Rectangle 50"/>
                <p:cNvSpPr>
                  <a:spLocks noChangeArrowheads="1"/>
                </p:cNvSpPr>
                <p:nvPr/>
              </p:nvSpPr>
              <p:spPr bwMode="auto">
                <a:xfrm>
                  <a:off x="5059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5" name="Rectangle 51"/>
                <p:cNvSpPr>
                  <a:spLocks noChangeArrowheads="1"/>
                </p:cNvSpPr>
                <p:nvPr/>
              </p:nvSpPr>
              <p:spPr bwMode="auto">
                <a:xfrm>
                  <a:off x="4793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6" name="Rectangle 52"/>
                <p:cNvSpPr>
                  <a:spLocks noChangeArrowheads="1"/>
                </p:cNvSpPr>
                <p:nvPr/>
              </p:nvSpPr>
              <p:spPr bwMode="auto">
                <a:xfrm>
                  <a:off x="4523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7" name="Rectangle 53"/>
                <p:cNvSpPr>
                  <a:spLocks noChangeArrowheads="1"/>
                </p:cNvSpPr>
                <p:nvPr/>
              </p:nvSpPr>
              <p:spPr bwMode="auto">
                <a:xfrm>
                  <a:off x="4257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8" name="Rectangle 54"/>
                <p:cNvSpPr>
                  <a:spLocks noChangeArrowheads="1"/>
                </p:cNvSpPr>
                <p:nvPr/>
              </p:nvSpPr>
              <p:spPr bwMode="auto">
                <a:xfrm>
                  <a:off x="3987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89" name="Rectangle 55"/>
                <p:cNvSpPr>
                  <a:spLocks noChangeArrowheads="1"/>
                </p:cNvSpPr>
                <p:nvPr/>
              </p:nvSpPr>
              <p:spPr bwMode="auto">
                <a:xfrm>
                  <a:off x="3721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0" name="Rectangle 56"/>
                <p:cNvSpPr>
                  <a:spLocks noChangeArrowheads="1"/>
                </p:cNvSpPr>
                <p:nvPr/>
              </p:nvSpPr>
              <p:spPr bwMode="auto">
                <a:xfrm>
                  <a:off x="3455" y="190"/>
                  <a:ext cx="55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1" name="Rectangle 57"/>
                <p:cNvSpPr>
                  <a:spLocks noChangeArrowheads="1"/>
                </p:cNvSpPr>
                <p:nvPr/>
              </p:nvSpPr>
              <p:spPr bwMode="auto">
                <a:xfrm>
                  <a:off x="3185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2" name="Rectangle 58"/>
                <p:cNvSpPr>
                  <a:spLocks noChangeArrowheads="1"/>
                </p:cNvSpPr>
                <p:nvPr/>
              </p:nvSpPr>
              <p:spPr bwMode="auto">
                <a:xfrm>
                  <a:off x="2919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3" name="Rectangle 59"/>
                <p:cNvSpPr>
                  <a:spLocks noChangeArrowheads="1"/>
                </p:cNvSpPr>
                <p:nvPr/>
              </p:nvSpPr>
              <p:spPr bwMode="auto">
                <a:xfrm>
                  <a:off x="2650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4" name="Rectangle 60"/>
                <p:cNvSpPr>
                  <a:spLocks noChangeArrowheads="1"/>
                </p:cNvSpPr>
                <p:nvPr/>
              </p:nvSpPr>
              <p:spPr bwMode="auto">
                <a:xfrm>
                  <a:off x="2383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5" name="Rectangle 61"/>
                <p:cNvSpPr>
                  <a:spLocks noChangeArrowheads="1"/>
                </p:cNvSpPr>
                <p:nvPr/>
              </p:nvSpPr>
              <p:spPr bwMode="auto">
                <a:xfrm>
                  <a:off x="2114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6" name="Rectangle 62"/>
                <p:cNvSpPr>
                  <a:spLocks noChangeArrowheads="1"/>
                </p:cNvSpPr>
                <p:nvPr/>
              </p:nvSpPr>
              <p:spPr bwMode="auto">
                <a:xfrm>
                  <a:off x="1848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7" name="Rectangle 63"/>
                <p:cNvSpPr>
                  <a:spLocks noChangeArrowheads="1"/>
                </p:cNvSpPr>
                <p:nvPr/>
              </p:nvSpPr>
              <p:spPr bwMode="auto">
                <a:xfrm>
                  <a:off x="1582" y="190"/>
                  <a:ext cx="55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8" name="Rectangle 64"/>
                <p:cNvSpPr>
                  <a:spLocks noChangeArrowheads="1"/>
                </p:cNvSpPr>
                <p:nvPr/>
              </p:nvSpPr>
              <p:spPr bwMode="auto">
                <a:xfrm>
                  <a:off x="1312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99" name="Rectangle 65"/>
                <p:cNvSpPr>
                  <a:spLocks noChangeArrowheads="1"/>
                </p:cNvSpPr>
                <p:nvPr/>
              </p:nvSpPr>
              <p:spPr bwMode="auto">
                <a:xfrm>
                  <a:off x="1046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0" name="Rectangle 66"/>
                <p:cNvSpPr>
                  <a:spLocks noChangeArrowheads="1"/>
                </p:cNvSpPr>
                <p:nvPr/>
              </p:nvSpPr>
              <p:spPr bwMode="auto">
                <a:xfrm>
                  <a:off x="776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1" name="Rectangle 67"/>
                <p:cNvSpPr>
                  <a:spLocks noChangeArrowheads="1"/>
                </p:cNvSpPr>
                <p:nvPr/>
              </p:nvSpPr>
              <p:spPr bwMode="auto">
                <a:xfrm>
                  <a:off x="510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2" name="Rectangle 68"/>
                <p:cNvSpPr>
                  <a:spLocks noChangeArrowheads="1"/>
                </p:cNvSpPr>
                <p:nvPr/>
              </p:nvSpPr>
              <p:spPr bwMode="auto">
                <a:xfrm>
                  <a:off x="5453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3" name="Rectangle 69"/>
                <p:cNvSpPr>
                  <a:spLocks noChangeArrowheads="1"/>
                </p:cNvSpPr>
                <p:nvPr/>
              </p:nvSpPr>
              <p:spPr bwMode="auto">
                <a:xfrm>
                  <a:off x="5187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4" name="Rectangle 70"/>
                <p:cNvSpPr>
                  <a:spLocks noChangeArrowheads="1"/>
                </p:cNvSpPr>
                <p:nvPr/>
              </p:nvSpPr>
              <p:spPr bwMode="auto">
                <a:xfrm>
                  <a:off x="4917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5" name="Rectangle 71"/>
                <p:cNvSpPr>
                  <a:spLocks noChangeArrowheads="1"/>
                </p:cNvSpPr>
                <p:nvPr/>
              </p:nvSpPr>
              <p:spPr bwMode="auto">
                <a:xfrm>
                  <a:off x="4651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6" name="Rectangle 72"/>
                <p:cNvSpPr>
                  <a:spLocks noChangeArrowheads="1"/>
                </p:cNvSpPr>
                <p:nvPr/>
              </p:nvSpPr>
              <p:spPr bwMode="auto">
                <a:xfrm>
                  <a:off x="4385" y="519"/>
                  <a:ext cx="55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7" name="Rectangle 73"/>
                <p:cNvSpPr>
                  <a:spLocks noChangeArrowheads="1"/>
                </p:cNvSpPr>
                <p:nvPr/>
              </p:nvSpPr>
              <p:spPr bwMode="auto">
                <a:xfrm>
                  <a:off x="4115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8" name="Rectangle 74"/>
                <p:cNvSpPr>
                  <a:spLocks noChangeArrowheads="1"/>
                </p:cNvSpPr>
                <p:nvPr/>
              </p:nvSpPr>
              <p:spPr bwMode="auto">
                <a:xfrm>
                  <a:off x="3849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09" name="Rectangle 75"/>
                <p:cNvSpPr>
                  <a:spLocks noChangeArrowheads="1"/>
                </p:cNvSpPr>
                <p:nvPr/>
              </p:nvSpPr>
              <p:spPr bwMode="auto">
                <a:xfrm>
                  <a:off x="3579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0" name="Rectangle 76"/>
                <p:cNvSpPr>
                  <a:spLocks noChangeArrowheads="1"/>
                </p:cNvSpPr>
                <p:nvPr/>
              </p:nvSpPr>
              <p:spPr bwMode="auto">
                <a:xfrm>
                  <a:off x="3313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1" name="Rectangle 77"/>
                <p:cNvSpPr>
                  <a:spLocks noChangeArrowheads="1"/>
                </p:cNvSpPr>
                <p:nvPr/>
              </p:nvSpPr>
              <p:spPr bwMode="auto">
                <a:xfrm>
                  <a:off x="3044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2" name="Rectangle 78"/>
                <p:cNvSpPr>
                  <a:spLocks noChangeArrowheads="1"/>
                </p:cNvSpPr>
                <p:nvPr/>
              </p:nvSpPr>
              <p:spPr bwMode="auto">
                <a:xfrm>
                  <a:off x="2777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3" name="Rectangle 79"/>
                <p:cNvSpPr>
                  <a:spLocks noChangeArrowheads="1"/>
                </p:cNvSpPr>
                <p:nvPr/>
              </p:nvSpPr>
              <p:spPr bwMode="auto">
                <a:xfrm>
                  <a:off x="2511" y="519"/>
                  <a:ext cx="56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4" name="Rectangle 80"/>
                <p:cNvSpPr>
                  <a:spLocks noChangeArrowheads="1"/>
                </p:cNvSpPr>
                <p:nvPr/>
              </p:nvSpPr>
              <p:spPr bwMode="auto">
                <a:xfrm>
                  <a:off x="2242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5" name="Rectangle 81"/>
                <p:cNvSpPr>
                  <a:spLocks noChangeArrowheads="1"/>
                </p:cNvSpPr>
                <p:nvPr/>
              </p:nvSpPr>
              <p:spPr bwMode="auto">
                <a:xfrm>
                  <a:off x="1976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6" name="Rectangle 82"/>
                <p:cNvSpPr>
                  <a:spLocks noChangeArrowheads="1"/>
                </p:cNvSpPr>
                <p:nvPr/>
              </p:nvSpPr>
              <p:spPr bwMode="auto">
                <a:xfrm>
                  <a:off x="1706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7" name="Rectangle 83"/>
                <p:cNvSpPr>
                  <a:spLocks noChangeArrowheads="1"/>
                </p:cNvSpPr>
                <p:nvPr/>
              </p:nvSpPr>
              <p:spPr bwMode="auto">
                <a:xfrm>
                  <a:off x="1440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8" name="Rectangle 84"/>
                <p:cNvSpPr>
                  <a:spLocks noChangeArrowheads="1"/>
                </p:cNvSpPr>
                <p:nvPr/>
              </p:nvSpPr>
              <p:spPr bwMode="auto">
                <a:xfrm>
                  <a:off x="1170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19" name="Rectangle 85"/>
                <p:cNvSpPr>
                  <a:spLocks noChangeArrowheads="1"/>
                </p:cNvSpPr>
                <p:nvPr/>
              </p:nvSpPr>
              <p:spPr bwMode="auto">
                <a:xfrm>
                  <a:off x="904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0" name="Rectangle 86"/>
                <p:cNvSpPr>
                  <a:spLocks noChangeArrowheads="1"/>
                </p:cNvSpPr>
                <p:nvPr/>
              </p:nvSpPr>
              <p:spPr bwMode="auto">
                <a:xfrm>
                  <a:off x="638" y="519"/>
                  <a:ext cx="55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1" name="Rectangle 87"/>
                <p:cNvSpPr>
                  <a:spLocks noChangeArrowheads="1"/>
                </p:cNvSpPr>
                <p:nvPr/>
              </p:nvSpPr>
              <p:spPr bwMode="auto">
                <a:xfrm>
                  <a:off x="368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2" name="Oval 88"/>
                <p:cNvSpPr>
                  <a:spLocks noChangeArrowheads="1"/>
                </p:cNvSpPr>
                <p:nvPr/>
              </p:nvSpPr>
              <p:spPr bwMode="auto">
                <a:xfrm>
                  <a:off x="334" y="2953"/>
                  <a:ext cx="535" cy="53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3" name="Oval 89"/>
                <p:cNvSpPr>
                  <a:spLocks noChangeArrowheads="1"/>
                </p:cNvSpPr>
                <p:nvPr/>
              </p:nvSpPr>
              <p:spPr bwMode="auto">
                <a:xfrm>
                  <a:off x="5771" y="187"/>
                  <a:ext cx="536" cy="53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4" name="Rectangle 90"/>
                <p:cNvSpPr>
                  <a:spLocks noChangeArrowheads="1"/>
                </p:cNvSpPr>
                <p:nvPr/>
              </p:nvSpPr>
              <p:spPr bwMode="auto">
                <a:xfrm>
                  <a:off x="1872" y="1262"/>
                  <a:ext cx="1811" cy="1179"/>
                </a:xfrm>
                <a:prstGeom prst="rect">
                  <a:avLst/>
                </a:prstGeom>
                <a:solidFill>
                  <a:srgbClr val="AAE6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5" name="Rectangle 91"/>
                <p:cNvSpPr>
                  <a:spLocks noChangeArrowheads="1"/>
                </p:cNvSpPr>
                <p:nvPr/>
              </p:nvSpPr>
              <p:spPr bwMode="auto">
                <a:xfrm>
                  <a:off x="465" y="1269"/>
                  <a:ext cx="591" cy="553"/>
                </a:xfrm>
                <a:prstGeom prst="rect">
                  <a:avLst/>
                </a:prstGeom>
                <a:solidFill>
                  <a:srgbClr val="AAE6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6" name="Oval 92"/>
                <p:cNvSpPr>
                  <a:spLocks noChangeArrowheads="1"/>
                </p:cNvSpPr>
                <p:nvPr/>
              </p:nvSpPr>
              <p:spPr bwMode="auto">
                <a:xfrm>
                  <a:off x="5242" y="1418"/>
                  <a:ext cx="854" cy="854"/>
                </a:xfrm>
                <a:prstGeom prst="ellipse">
                  <a:avLst/>
                </a:prstGeom>
                <a:solidFill>
                  <a:srgbClr val="BECD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7" name="Oval 93"/>
                <p:cNvSpPr>
                  <a:spLocks noChangeArrowheads="1"/>
                </p:cNvSpPr>
                <p:nvPr/>
              </p:nvSpPr>
              <p:spPr bwMode="auto">
                <a:xfrm>
                  <a:off x="5342" y="1518"/>
                  <a:ext cx="654" cy="653"/>
                </a:xfrm>
                <a:prstGeom prst="ellipse">
                  <a:avLst/>
                </a:prstGeom>
                <a:solidFill>
                  <a:srgbClr val="9BA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8" name="Oval 94"/>
                <p:cNvSpPr>
                  <a:spLocks noChangeArrowheads="1"/>
                </p:cNvSpPr>
                <p:nvPr/>
              </p:nvSpPr>
              <p:spPr bwMode="auto">
                <a:xfrm>
                  <a:off x="507" y="2202"/>
                  <a:ext cx="508" cy="229"/>
                </a:xfrm>
                <a:prstGeom prst="ellipse">
                  <a:avLst/>
                </a:prstGeom>
                <a:solidFill>
                  <a:srgbClr val="ADBE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629" name="Oval 95"/>
                <p:cNvSpPr>
                  <a:spLocks noChangeArrowheads="1"/>
                </p:cNvSpPr>
                <p:nvPr/>
              </p:nvSpPr>
              <p:spPr bwMode="auto">
                <a:xfrm>
                  <a:off x="4782" y="2202"/>
                  <a:ext cx="505" cy="229"/>
                </a:xfrm>
                <a:prstGeom prst="ellipse">
                  <a:avLst/>
                </a:prstGeom>
                <a:solidFill>
                  <a:srgbClr val="ADBE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536" name="Picture 2" descr="C:\Users\fbuser\AppData\Local\Temp\vmware-fbuser\VMwareDnD\688ce5eb\Controller_offen.emf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863927" y="2001379"/>
                <a:ext cx="2088000" cy="12332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37" name="TextBox 250"/>
              <p:cNvSpPr txBox="1"/>
              <p:nvPr/>
            </p:nvSpPr>
            <p:spPr>
              <a:xfrm>
                <a:off x="9357797" y="3288130"/>
                <a:ext cx="449790" cy="2489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0V </a:t>
                </a:r>
              </a:p>
            </p:txBody>
          </p:sp>
          <p:sp>
            <p:nvSpPr>
              <p:cNvPr id="538" name="TextBox 250"/>
              <p:cNvSpPr txBox="1"/>
              <p:nvPr/>
            </p:nvSpPr>
            <p:spPr>
              <a:xfrm>
                <a:off x="8007943" y="3288130"/>
                <a:ext cx="1161393" cy="2489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utput</a:t>
                </a:r>
                <a:r>
                  <a:rPr lang="de-DE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: </a:t>
                </a: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5V </a:t>
                </a:r>
              </a:p>
            </p:txBody>
          </p:sp>
        </p:grpSp>
        <p:grpSp>
          <p:nvGrpSpPr>
            <p:cNvPr id="407" name="Gruppieren 13"/>
            <p:cNvGrpSpPr/>
            <p:nvPr/>
          </p:nvGrpSpPr>
          <p:grpSpPr>
            <a:xfrm>
              <a:off x="8670820" y="4365104"/>
              <a:ext cx="2786725" cy="1323330"/>
              <a:chOff x="8670820" y="4365104"/>
              <a:chExt cx="2786725" cy="1323330"/>
            </a:xfrm>
          </p:grpSpPr>
          <p:cxnSp>
            <p:nvCxnSpPr>
              <p:cNvPr id="528" name="Gerade Verbindung 480"/>
              <p:cNvCxnSpPr/>
              <p:nvPr/>
            </p:nvCxnSpPr>
            <p:spPr bwMode="auto">
              <a:xfrm flipH="1">
                <a:off x="8805300" y="4365104"/>
                <a:ext cx="1860358" cy="560528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29" name="Gerade Verbindung 482"/>
              <p:cNvCxnSpPr/>
              <p:nvPr/>
            </p:nvCxnSpPr>
            <p:spPr bwMode="auto">
              <a:xfrm flipH="1" flipV="1">
                <a:off x="8805300" y="5194592"/>
                <a:ext cx="1860358" cy="49384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530" name="Picture 2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181" t="18560" r="46084" b="18560"/>
              <a:stretch/>
            </p:blipFill>
            <p:spPr bwMode="auto">
              <a:xfrm>
                <a:off x="10140742" y="4368863"/>
                <a:ext cx="1316803" cy="1318670"/>
              </a:xfrm>
              <a:prstGeom prst="ellipse">
                <a:avLst/>
              </a:prstGeom>
              <a:noFill/>
              <a:ln w="25400">
                <a:solidFill>
                  <a:srgbClr val="41AAAA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  <p:sp>
            <p:nvSpPr>
              <p:cNvPr id="531" name="Ellipse 322"/>
              <p:cNvSpPr/>
              <p:nvPr/>
            </p:nvSpPr>
            <p:spPr bwMode="auto">
              <a:xfrm>
                <a:off x="8670820" y="4925632"/>
                <a:ext cx="268960" cy="268960"/>
              </a:xfrm>
              <a:prstGeom prst="ellipse">
                <a:avLst/>
              </a:prstGeom>
              <a:noFill/>
              <a:ln w="19050">
                <a:solidFill>
                  <a:srgbClr val="4BB9B9"/>
                </a:solidFill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 smtClean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</p:grpSp>
        <p:grpSp>
          <p:nvGrpSpPr>
            <p:cNvPr id="408" name="Gruppieren 3"/>
            <p:cNvGrpSpPr/>
            <p:nvPr/>
          </p:nvGrpSpPr>
          <p:grpSpPr>
            <a:xfrm>
              <a:off x="3614955" y="1449388"/>
              <a:ext cx="2095082" cy="4206745"/>
              <a:chOff x="3614955" y="1449388"/>
              <a:chExt cx="2095082" cy="4206745"/>
            </a:xfrm>
          </p:grpSpPr>
          <p:sp>
            <p:nvSpPr>
              <p:cNvPr id="430" name="Rechteck 222"/>
              <p:cNvSpPr/>
              <p:nvPr/>
            </p:nvSpPr>
            <p:spPr bwMode="auto">
              <a:xfrm>
                <a:off x="3614955" y="1449388"/>
                <a:ext cx="721544" cy="338554"/>
              </a:xfrm>
              <a:prstGeom prst="rect">
                <a:avLst/>
              </a:prstGeom>
              <a:noFill/>
              <a:ln>
                <a:noFill/>
              </a:ln>
              <a:effectLst/>
              <a:extLst/>
            </p:spPr>
            <p:txBody>
              <a:bodyPr wrap="none" lIns="0" tIns="0" rIns="0" bIns="0" numCol="1" spcCol="72000" rtlCol="0" anchor="t">
                <a:spAutoFit/>
              </a:bodyPr>
              <a:lstStyle/>
              <a:p>
                <a:pPr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r>
                  <a:rPr lang="en-US" sz="2000" b="1" dirty="0" smtClean="0">
                    <a:solidFill>
                      <a:schemeClr val="accent1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Test 1</a:t>
                </a:r>
              </a:p>
            </p:txBody>
          </p:sp>
          <p:cxnSp>
            <p:nvCxnSpPr>
              <p:cNvPr id="431" name="Gerade Verbindung 15"/>
              <p:cNvCxnSpPr/>
              <p:nvPr/>
            </p:nvCxnSpPr>
            <p:spPr bwMode="auto">
              <a:xfrm>
                <a:off x="4831207" y="3212976"/>
                <a:ext cx="0" cy="122285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432" name="Gerade Verbindung 227"/>
              <p:cNvCxnSpPr/>
              <p:nvPr/>
            </p:nvCxnSpPr>
            <p:spPr bwMode="auto">
              <a:xfrm>
                <a:off x="4983607" y="3212976"/>
                <a:ext cx="0" cy="1222850"/>
              </a:xfrm>
              <a:prstGeom prst="line">
                <a:avLst/>
              </a:prstGeom>
              <a:solidFill>
                <a:schemeClr val="tx2"/>
              </a:solidFill>
              <a:ln w="38100" cap="flat" cmpd="sng" algn="ctr">
                <a:solidFill>
                  <a:srgbClr val="00646E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433" name="Group 4"/>
              <p:cNvGrpSpPr>
                <a:grpSpLocks noChangeAspect="1"/>
              </p:cNvGrpSpPr>
              <p:nvPr/>
            </p:nvGrpSpPr>
            <p:grpSpPr bwMode="auto">
              <a:xfrm>
                <a:off x="3622037" y="4435826"/>
                <a:ext cx="2088000" cy="1220307"/>
                <a:chOff x="147" y="0"/>
                <a:chExt cx="6336" cy="3703"/>
              </a:xfrm>
            </p:grpSpPr>
            <p:sp>
              <p:nvSpPr>
                <p:cNvPr id="437" name="Freeform 5"/>
                <p:cNvSpPr>
                  <a:spLocks/>
                </p:cNvSpPr>
                <p:nvPr/>
              </p:nvSpPr>
              <p:spPr bwMode="auto">
                <a:xfrm>
                  <a:off x="147" y="0"/>
                  <a:ext cx="6336" cy="3703"/>
                </a:xfrm>
                <a:custGeom>
                  <a:avLst/>
                  <a:gdLst>
                    <a:gd name="T0" fmla="*/ 1804 w 1833"/>
                    <a:gd name="T1" fmla="*/ 1071 h 1071"/>
                    <a:gd name="T2" fmla="*/ 29 w 1833"/>
                    <a:gd name="T3" fmla="*/ 1071 h 1071"/>
                    <a:gd name="T4" fmla="*/ 0 w 1833"/>
                    <a:gd name="T5" fmla="*/ 1042 h 1071"/>
                    <a:gd name="T6" fmla="*/ 0 w 1833"/>
                    <a:gd name="T7" fmla="*/ 29 h 1071"/>
                    <a:gd name="T8" fmla="*/ 29 w 1833"/>
                    <a:gd name="T9" fmla="*/ 0 h 1071"/>
                    <a:gd name="T10" fmla="*/ 1804 w 1833"/>
                    <a:gd name="T11" fmla="*/ 0 h 1071"/>
                    <a:gd name="T12" fmla="*/ 1833 w 1833"/>
                    <a:gd name="T13" fmla="*/ 29 h 1071"/>
                    <a:gd name="T14" fmla="*/ 1833 w 1833"/>
                    <a:gd name="T15" fmla="*/ 1042 h 1071"/>
                    <a:gd name="T16" fmla="*/ 1804 w 1833"/>
                    <a:gd name="T17" fmla="*/ 1071 h 10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833" h="1071">
                      <a:moveTo>
                        <a:pt x="1804" y="1071"/>
                      </a:moveTo>
                      <a:cubicBezTo>
                        <a:pt x="29" y="1071"/>
                        <a:pt x="29" y="1071"/>
                        <a:pt x="29" y="1071"/>
                      </a:cubicBezTo>
                      <a:cubicBezTo>
                        <a:pt x="13" y="1071"/>
                        <a:pt x="0" y="1058"/>
                        <a:pt x="0" y="1042"/>
                      </a:cubicBezTo>
                      <a:cubicBezTo>
                        <a:pt x="0" y="29"/>
                        <a:pt x="0" y="29"/>
                        <a:pt x="0" y="29"/>
                      </a:cubicBezTo>
                      <a:cubicBezTo>
                        <a:pt x="0" y="13"/>
                        <a:pt x="13" y="0"/>
                        <a:pt x="29" y="0"/>
                      </a:cubicBezTo>
                      <a:cubicBezTo>
                        <a:pt x="1804" y="0"/>
                        <a:pt x="1804" y="0"/>
                        <a:pt x="1804" y="0"/>
                      </a:cubicBezTo>
                      <a:cubicBezTo>
                        <a:pt x="1820" y="0"/>
                        <a:pt x="1833" y="13"/>
                        <a:pt x="1833" y="29"/>
                      </a:cubicBezTo>
                      <a:cubicBezTo>
                        <a:pt x="1833" y="1042"/>
                        <a:pt x="1833" y="1042"/>
                        <a:pt x="1833" y="1042"/>
                      </a:cubicBezTo>
                      <a:cubicBezTo>
                        <a:pt x="1833" y="1058"/>
                        <a:pt x="1820" y="1071"/>
                        <a:pt x="1804" y="1071"/>
                      </a:cubicBezTo>
                      <a:close/>
                    </a:path>
                  </a:pathLst>
                </a:custGeom>
                <a:solidFill>
                  <a:srgbClr val="CDD9E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8" name="Rectangle 6"/>
                <p:cNvSpPr>
                  <a:spLocks noChangeArrowheads="1"/>
                </p:cNvSpPr>
                <p:nvPr/>
              </p:nvSpPr>
              <p:spPr bwMode="auto">
                <a:xfrm>
                  <a:off x="147" y="920"/>
                  <a:ext cx="6336" cy="1863"/>
                </a:xfrm>
                <a:prstGeom prst="rect">
                  <a:avLst/>
                </a:prstGeom>
                <a:solidFill>
                  <a:srgbClr val="EBF0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9" name="Freeform 7"/>
                <p:cNvSpPr>
                  <a:spLocks/>
                </p:cNvSpPr>
                <p:nvPr/>
              </p:nvSpPr>
              <p:spPr bwMode="auto">
                <a:xfrm>
                  <a:off x="154" y="920"/>
                  <a:ext cx="1386" cy="1863"/>
                </a:xfrm>
                <a:custGeom>
                  <a:avLst/>
                  <a:gdLst>
                    <a:gd name="T0" fmla="*/ 357 w 401"/>
                    <a:gd name="T1" fmla="*/ 282 h 539"/>
                    <a:gd name="T2" fmla="*/ 401 w 401"/>
                    <a:gd name="T3" fmla="*/ 0 h 539"/>
                    <a:gd name="T4" fmla="*/ 0 w 401"/>
                    <a:gd name="T5" fmla="*/ 0 h 539"/>
                    <a:gd name="T6" fmla="*/ 0 w 401"/>
                    <a:gd name="T7" fmla="*/ 539 h 539"/>
                    <a:gd name="T8" fmla="*/ 393 w 401"/>
                    <a:gd name="T9" fmla="*/ 539 h 539"/>
                    <a:gd name="T10" fmla="*/ 357 w 401"/>
                    <a:gd name="T11" fmla="*/ 282 h 5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01" h="539">
                      <a:moveTo>
                        <a:pt x="357" y="282"/>
                      </a:moveTo>
                      <a:cubicBezTo>
                        <a:pt x="357" y="180"/>
                        <a:pt x="373" y="84"/>
                        <a:pt x="401" y="0"/>
                      </a:cubicBezTo>
                      <a:cubicBezTo>
                        <a:pt x="0" y="0"/>
                        <a:pt x="0" y="0"/>
                        <a:pt x="0" y="0"/>
                      </a:cubicBezTo>
                      <a:cubicBezTo>
                        <a:pt x="0" y="539"/>
                        <a:pt x="0" y="539"/>
                        <a:pt x="0" y="539"/>
                      </a:cubicBezTo>
                      <a:cubicBezTo>
                        <a:pt x="393" y="539"/>
                        <a:pt x="393" y="539"/>
                        <a:pt x="393" y="539"/>
                      </a:cubicBezTo>
                      <a:cubicBezTo>
                        <a:pt x="370" y="461"/>
                        <a:pt x="357" y="374"/>
                        <a:pt x="357" y="282"/>
                      </a:cubicBezTo>
                      <a:close/>
                    </a:path>
                  </a:pathLst>
                </a:custGeom>
                <a:solidFill>
                  <a:srgbClr val="DFE6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0" name="Rectangle 8"/>
                <p:cNvSpPr>
                  <a:spLocks noChangeArrowheads="1"/>
                </p:cNvSpPr>
                <p:nvPr/>
              </p:nvSpPr>
              <p:spPr bwMode="auto">
                <a:xfrm>
                  <a:off x="6227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1" name="Rectangle 9"/>
                <p:cNvSpPr>
                  <a:spLocks noChangeArrowheads="1"/>
                </p:cNvSpPr>
                <p:nvPr/>
              </p:nvSpPr>
              <p:spPr bwMode="auto">
                <a:xfrm>
                  <a:off x="5961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2" name="Rectangle 10"/>
                <p:cNvSpPr>
                  <a:spLocks noChangeArrowheads="1"/>
                </p:cNvSpPr>
                <p:nvPr/>
              </p:nvSpPr>
              <p:spPr bwMode="auto">
                <a:xfrm>
                  <a:off x="5695" y="2963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3" name="Rectangle 11"/>
                <p:cNvSpPr>
                  <a:spLocks noChangeArrowheads="1"/>
                </p:cNvSpPr>
                <p:nvPr/>
              </p:nvSpPr>
              <p:spPr bwMode="auto">
                <a:xfrm>
                  <a:off x="5425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4" name="Rectangle 12"/>
                <p:cNvSpPr>
                  <a:spLocks noChangeArrowheads="1"/>
                </p:cNvSpPr>
                <p:nvPr/>
              </p:nvSpPr>
              <p:spPr bwMode="auto">
                <a:xfrm>
                  <a:off x="5159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5" name="Rectangle 13"/>
                <p:cNvSpPr>
                  <a:spLocks noChangeArrowheads="1"/>
                </p:cNvSpPr>
                <p:nvPr/>
              </p:nvSpPr>
              <p:spPr bwMode="auto">
                <a:xfrm>
                  <a:off x="4889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6" name="Rectangle 14"/>
                <p:cNvSpPr>
                  <a:spLocks noChangeArrowheads="1"/>
                </p:cNvSpPr>
                <p:nvPr/>
              </p:nvSpPr>
              <p:spPr bwMode="auto">
                <a:xfrm>
                  <a:off x="4623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7" name="Rectangle 15"/>
                <p:cNvSpPr>
                  <a:spLocks noChangeArrowheads="1"/>
                </p:cNvSpPr>
                <p:nvPr/>
              </p:nvSpPr>
              <p:spPr bwMode="auto">
                <a:xfrm>
                  <a:off x="4354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8" name="Rectangle 16"/>
                <p:cNvSpPr>
                  <a:spLocks noChangeArrowheads="1"/>
                </p:cNvSpPr>
                <p:nvPr/>
              </p:nvSpPr>
              <p:spPr bwMode="auto">
                <a:xfrm>
                  <a:off x="4088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9" name="Rectangle 17"/>
                <p:cNvSpPr>
                  <a:spLocks noChangeArrowheads="1"/>
                </p:cNvSpPr>
                <p:nvPr/>
              </p:nvSpPr>
              <p:spPr bwMode="auto">
                <a:xfrm>
                  <a:off x="3821" y="2963"/>
                  <a:ext cx="56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0" name="Rectangle 18"/>
                <p:cNvSpPr>
                  <a:spLocks noChangeArrowheads="1"/>
                </p:cNvSpPr>
                <p:nvPr/>
              </p:nvSpPr>
              <p:spPr bwMode="auto">
                <a:xfrm>
                  <a:off x="3552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1" name="Rectangle 19"/>
                <p:cNvSpPr>
                  <a:spLocks noChangeArrowheads="1"/>
                </p:cNvSpPr>
                <p:nvPr/>
              </p:nvSpPr>
              <p:spPr bwMode="auto">
                <a:xfrm>
                  <a:off x="3286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2" name="Rectangle 20"/>
                <p:cNvSpPr>
                  <a:spLocks noChangeArrowheads="1"/>
                </p:cNvSpPr>
                <p:nvPr/>
              </p:nvSpPr>
              <p:spPr bwMode="auto">
                <a:xfrm>
                  <a:off x="3016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3" name="Rectangle 21"/>
                <p:cNvSpPr>
                  <a:spLocks noChangeArrowheads="1"/>
                </p:cNvSpPr>
                <p:nvPr/>
              </p:nvSpPr>
              <p:spPr bwMode="auto">
                <a:xfrm>
                  <a:off x="2750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4" name="Rectangle 22"/>
                <p:cNvSpPr>
                  <a:spLocks noChangeArrowheads="1"/>
                </p:cNvSpPr>
                <p:nvPr/>
              </p:nvSpPr>
              <p:spPr bwMode="auto">
                <a:xfrm>
                  <a:off x="2480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5" name="Rectangle 23"/>
                <p:cNvSpPr>
                  <a:spLocks noChangeArrowheads="1"/>
                </p:cNvSpPr>
                <p:nvPr/>
              </p:nvSpPr>
              <p:spPr bwMode="auto">
                <a:xfrm>
                  <a:off x="2214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6" name="Rectangle 24"/>
                <p:cNvSpPr>
                  <a:spLocks noChangeArrowheads="1"/>
                </p:cNvSpPr>
                <p:nvPr/>
              </p:nvSpPr>
              <p:spPr bwMode="auto">
                <a:xfrm>
                  <a:off x="1948" y="2963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7" name="Rectangle 25"/>
                <p:cNvSpPr>
                  <a:spLocks noChangeArrowheads="1"/>
                </p:cNvSpPr>
                <p:nvPr/>
              </p:nvSpPr>
              <p:spPr bwMode="auto">
                <a:xfrm>
                  <a:off x="1678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8" name="Rectangle 26"/>
                <p:cNvSpPr>
                  <a:spLocks noChangeArrowheads="1"/>
                </p:cNvSpPr>
                <p:nvPr/>
              </p:nvSpPr>
              <p:spPr bwMode="auto">
                <a:xfrm>
                  <a:off x="1412" y="2963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9" name="Rectangle 27"/>
                <p:cNvSpPr>
                  <a:spLocks noChangeArrowheads="1"/>
                </p:cNvSpPr>
                <p:nvPr/>
              </p:nvSpPr>
              <p:spPr bwMode="auto">
                <a:xfrm>
                  <a:off x="1143" y="2963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0" name="Rectangle 28"/>
                <p:cNvSpPr>
                  <a:spLocks noChangeArrowheads="1"/>
                </p:cNvSpPr>
                <p:nvPr/>
              </p:nvSpPr>
              <p:spPr bwMode="auto">
                <a:xfrm>
                  <a:off x="6089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1" name="Rectangle 29"/>
                <p:cNvSpPr>
                  <a:spLocks noChangeArrowheads="1"/>
                </p:cNvSpPr>
                <p:nvPr/>
              </p:nvSpPr>
              <p:spPr bwMode="auto">
                <a:xfrm>
                  <a:off x="5819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2" name="Rectangle 30"/>
                <p:cNvSpPr>
                  <a:spLocks noChangeArrowheads="1"/>
                </p:cNvSpPr>
                <p:nvPr/>
              </p:nvSpPr>
              <p:spPr bwMode="auto">
                <a:xfrm>
                  <a:off x="5553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3" name="Rectangle 31"/>
                <p:cNvSpPr>
                  <a:spLocks noChangeArrowheads="1"/>
                </p:cNvSpPr>
                <p:nvPr/>
              </p:nvSpPr>
              <p:spPr bwMode="auto">
                <a:xfrm>
                  <a:off x="5284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4" name="Rectangle 32"/>
                <p:cNvSpPr>
                  <a:spLocks noChangeArrowheads="1"/>
                </p:cNvSpPr>
                <p:nvPr/>
              </p:nvSpPr>
              <p:spPr bwMode="auto">
                <a:xfrm>
                  <a:off x="5017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5" name="Rectangle 33"/>
                <p:cNvSpPr>
                  <a:spLocks noChangeArrowheads="1"/>
                </p:cNvSpPr>
                <p:nvPr/>
              </p:nvSpPr>
              <p:spPr bwMode="auto">
                <a:xfrm>
                  <a:off x="4751" y="3292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6" name="Rectangle 34"/>
                <p:cNvSpPr>
                  <a:spLocks noChangeArrowheads="1"/>
                </p:cNvSpPr>
                <p:nvPr/>
              </p:nvSpPr>
              <p:spPr bwMode="auto">
                <a:xfrm>
                  <a:off x="4482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7" name="Rectangle 35"/>
                <p:cNvSpPr>
                  <a:spLocks noChangeArrowheads="1"/>
                </p:cNvSpPr>
                <p:nvPr/>
              </p:nvSpPr>
              <p:spPr bwMode="auto">
                <a:xfrm>
                  <a:off x="4215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8" name="Rectangle 36"/>
                <p:cNvSpPr>
                  <a:spLocks noChangeArrowheads="1"/>
                </p:cNvSpPr>
                <p:nvPr/>
              </p:nvSpPr>
              <p:spPr bwMode="auto">
                <a:xfrm>
                  <a:off x="3946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9" name="Rectangle 37"/>
                <p:cNvSpPr>
                  <a:spLocks noChangeArrowheads="1"/>
                </p:cNvSpPr>
                <p:nvPr/>
              </p:nvSpPr>
              <p:spPr bwMode="auto">
                <a:xfrm>
                  <a:off x="3680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0" name="Rectangle 38"/>
                <p:cNvSpPr>
                  <a:spLocks noChangeArrowheads="1"/>
                </p:cNvSpPr>
                <p:nvPr/>
              </p:nvSpPr>
              <p:spPr bwMode="auto">
                <a:xfrm>
                  <a:off x="3410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1" name="Rectangle 39"/>
                <p:cNvSpPr>
                  <a:spLocks noChangeArrowheads="1"/>
                </p:cNvSpPr>
                <p:nvPr/>
              </p:nvSpPr>
              <p:spPr bwMode="auto">
                <a:xfrm>
                  <a:off x="3144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2" name="Rectangle 40"/>
                <p:cNvSpPr>
                  <a:spLocks noChangeArrowheads="1"/>
                </p:cNvSpPr>
                <p:nvPr/>
              </p:nvSpPr>
              <p:spPr bwMode="auto">
                <a:xfrm>
                  <a:off x="2878" y="3292"/>
                  <a:ext cx="55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3" name="Rectangle 41"/>
                <p:cNvSpPr>
                  <a:spLocks noChangeArrowheads="1"/>
                </p:cNvSpPr>
                <p:nvPr/>
              </p:nvSpPr>
              <p:spPr bwMode="auto">
                <a:xfrm>
                  <a:off x="2608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4" name="Rectangle 42"/>
                <p:cNvSpPr>
                  <a:spLocks noChangeArrowheads="1"/>
                </p:cNvSpPr>
                <p:nvPr/>
              </p:nvSpPr>
              <p:spPr bwMode="auto">
                <a:xfrm>
                  <a:off x="2342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5" name="Rectangle 43"/>
                <p:cNvSpPr>
                  <a:spLocks noChangeArrowheads="1"/>
                </p:cNvSpPr>
                <p:nvPr/>
              </p:nvSpPr>
              <p:spPr bwMode="auto">
                <a:xfrm>
                  <a:off x="2072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6" name="Rectangle 44"/>
                <p:cNvSpPr>
                  <a:spLocks noChangeArrowheads="1"/>
                </p:cNvSpPr>
                <p:nvPr/>
              </p:nvSpPr>
              <p:spPr bwMode="auto">
                <a:xfrm>
                  <a:off x="1806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7" name="Rectangle 45"/>
                <p:cNvSpPr>
                  <a:spLocks noChangeArrowheads="1"/>
                </p:cNvSpPr>
                <p:nvPr/>
              </p:nvSpPr>
              <p:spPr bwMode="auto">
                <a:xfrm>
                  <a:off x="1537" y="3292"/>
                  <a:ext cx="58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8" name="Rectangle 46"/>
                <p:cNvSpPr>
                  <a:spLocks noChangeArrowheads="1"/>
                </p:cNvSpPr>
                <p:nvPr/>
              </p:nvSpPr>
              <p:spPr bwMode="auto">
                <a:xfrm>
                  <a:off x="1270" y="3292"/>
                  <a:ext cx="59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9" name="Rectangle 47"/>
                <p:cNvSpPr>
                  <a:spLocks noChangeArrowheads="1"/>
                </p:cNvSpPr>
                <p:nvPr/>
              </p:nvSpPr>
              <p:spPr bwMode="auto">
                <a:xfrm>
                  <a:off x="1004" y="3292"/>
                  <a:ext cx="56" cy="221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0" name="Rectangle 48"/>
                <p:cNvSpPr>
                  <a:spLocks noChangeArrowheads="1"/>
                </p:cNvSpPr>
                <p:nvPr/>
              </p:nvSpPr>
              <p:spPr bwMode="auto">
                <a:xfrm>
                  <a:off x="5595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1" name="Rectangle 49"/>
                <p:cNvSpPr>
                  <a:spLocks noChangeArrowheads="1"/>
                </p:cNvSpPr>
                <p:nvPr/>
              </p:nvSpPr>
              <p:spPr bwMode="auto">
                <a:xfrm>
                  <a:off x="5328" y="190"/>
                  <a:ext cx="56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2" name="Rectangle 50"/>
                <p:cNvSpPr>
                  <a:spLocks noChangeArrowheads="1"/>
                </p:cNvSpPr>
                <p:nvPr/>
              </p:nvSpPr>
              <p:spPr bwMode="auto">
                <a:xfrm>
                  <a:off x="5059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3" name="Rectangle 51"/>
                <p:cNvSpPr>
                  <a:spLocks noChangeArrowheads="1"/>
                </p:cNvSpPr>
                <p:nvPr/>
              </p:nvSpPr>
              <p:spPr bwMode="auto">
                <a:xfrm>
                  <a:off x="4793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4" name="Rectangle 52"/>
                <p:cNvSpPr>
                  <a:spLocks noChangeArrowheads="1"/>
                </p:cNvSpPr>
                <p:nvPr/>
              </p:nvSpPr>
              <p:spPr bwMode="auto">
                <a:xfrm>
                  <a:off x="4523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5" name="Rectangle 53"/>
                <p:cNvSpPr>
                  <a:spLocks noChangeArrowheads="1"/>
                </p:cNvSpPr>
                <p:nvPr/>
              </p:nvSpPr>
              <p:spPr bwMode="auto">
                <a:xfrm>
                  <a:off x="4257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6" name="Rectangle 54"/>
                <p:cNvSpPr>
                  <a:spLocks noChangeArrowheads="1"/>
                </p:cNvSpPr>
                <p:nvPr/>
              </p:nvSpPr>
              <p:spPr bwMode="auto">
                <a:xfrm>
                  <a:off x="3987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7" name="Rectangle 55"/>
                <p:cNvSpPr>
                  <a:spLocks noChangeArrowheads="1"/>
                </p:cNvSpPr>
                <p:nvPr/>
              </p:nvSpPr>
              <p:spPr bwMode="auto">
                <a:xfrm>
                  <a:off x="3721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8" name="Rectangle 56"/>
                <p:cNvSpPr>
                  <a:spLocks noChangeArrowheads="1"/>
                </p:cNvSpPr>
                <p:nvPr/>
              </p:nvSpPr>
              <p:spPr bwMode="auto">
                <a:xfrm>
                  <a:off x="3455" y="190"/>
                  <a:ext cx="55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9" name="Rectangle 57"/>
                <p:cNvSpPr>
                  <a:spLocks noChangeArrowheads="1"/>
                </p:cNvSpPr>
                <p:nvPr/>
              </p:nvSpPr>
              <p:spPr bwMode="auto">
                <a:xfrm>
                  <a:off x="3185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0" name="Rectangle 58"/>
                <p:cNvSpPr>
                  <a:spLocks noChangeArrowheads="1"/>
                </p:cNvSpPr>
                <p:nvPr/>
              </p:nvSpPr>
              <p:spPr bwMode="auto">
                <a:xfrm>
                  <a:off x="2919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1" name="Rectangle 59"/>
                <p:cNvSpPr>
                  <a:spLocks noChangeArrowheads="1"/>
                </p:cNvSpPr>
                <p:nvPr/>
              </p:nvSpPr>
              <p:spPr bwMode="auto">
                <a:xfrm>
                  <a:off x="2650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2" name="Rectangle 60"/>
                <p:cNvSpPr>
                  <a:spLocks noChangeArrowheads="1"/>
                </p:cNvSpPr>
                <p:nvPr/>
              </p:nvSpPr>
              <p:spPr bwMode="auto">
                <a:xfrm>
                  <a:off x="2383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3" name="Rectangle 61"/>
                <p:cNvSpPr>
                  <a:spLocks noChangeArrowheads="1"/>
                </p:cNvSpPr>
                <p:nvPr/>
              </p:nvSpPr>
              <p:spPr bwMode="auto">
                <a:xfrm>
                  <a:off x="2114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4" name="Rectangle 62"/>
                <p:cNvSpPr>
                  <a:spLocks noChangeArrowheads="1"/>
                </p:cNvSpPr>
                <p:nvPr/>
              </p:nvSpPr>
              <p:spPr bwMode="auto">
                <a:xfrm>
                  <a:off x="1848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5" name="Rectangle 63"/>
                <p:cNvSpPr>
                  <a:spLocks noChangeArrowheads="1"/>
                </p:cNvSpPr>
                <p:nvPr/>
              </p:nvSpPr>
              <p:spPr bwMode="auto">
                <a:xfrm>
                  <a:off x="1582" y="190"/>
                  <a:ext cx="55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6" name="Rectangle 64"/>
                <p:cNvSpPr>
                  <a:spLocks noChangeArrowheads="1"/>
                </p:cNvSpPr>
                <p:nvPr/>
              </p:nvSpPr>
              <p:spPr bwMode="auto">
                <a:xfrm>
                  <a:off x="1312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7" name="Rectangle 65"/>
                <p:cNvSpPr>
                  <a:spLocks noChangeArrowheads="1"/>
                </p:cNvSpPr>
                <p:nvPr/>
              </p:nvSpPr>
              <p:spPr bwMode="auto">
                <a:xfrm>
                  <a:off x="1046" y="190"/>
                  <a:ext cx="58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8" name="Rectangle 66"/>
                <p:cNvSpPr>
                  <a:spLocks noChangeArrowheads="1"/>
                </p:cNvSpPr>
                <p:nvPr/>
              </p:nvSpPr>
              <p:spPr bwMode="auto">
                <a:xfrm>
                  <a:off x="776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9" name="Rectangle 67"/>
                <p:cNvSpPr>
                  <a:spLocks noChangeArrowheads="1"/>
                </p:cNvSpPr>
                <p:nvPr/>
              </p:nvSpPr>
              <p:spPr bwMode="auto">
                <a:xfrm>
                  <a:off x="510" y="190"/>
                  <a:ext cx="59" cy="218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0" name="Rectangle 68"/>
                <p:cNvSpPr>
                  <a:spLocks noChangeArrowheads="1"/>
                </p:cNvSpPr>
                <p:nvPr/>
              </p:nvSpPr>
              <p:spPr bwMode="auto">
                <a:xfrm>
                  <a:off x="5453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1" name="Rectangle 69"/>
                <p:cNvSpPr>
                  <a:spLocks noChangeArrowheads="1"/>
                </p:cNvSpPr>
                <p:nvPr/>
              </p:nvSpPr>
              <p:spPr bwMode="auto">
                <a:xfrm>
                  <a:off x="5187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2" name="Rectangle 70"/>
                <p:cNvSpPr>
                  <a:spLocks noChangeArrowheads="1"/>
                </p:cNvSpPr>
                <p:nvPr/>
              </p:nvSpPr>
              <p:spPr bwMode="auto">
                <a:xfrm>
                  <a:off x="4917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3" name="Rectangle 71"/>
                <p:cNvSpPr>
                  <a:spLocks noChangeArrowheads="1"/>
                </p:cNvSpPr>
                <p:nvPr/>
              </p:nvSpPr>
              <p:spPr bwMode="auto">
                <a:xfrm>
                  <a:off x="4651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4" name="Rectangle 72"/>
                <p:cNvSpPr>
                  <a:spLocks noChangeArrowheads="1"/>
                </p:cNvSpPr>
                <p:nvPr/>
              </p:nvSpPr>
              <p:spPr bwMode="auto">
                <a:xfrm>
                  <a:off x="4385" y="519"/>
                  <a:ext cx="55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5" name="Rectangle 73"/>
                <p:cNvSpPr>
                  <a:spLocks noChangeArrowheads="1"/>
                </p:cNvSpPr>
                <p:nvPr/>
              </p:nvSpPr>
              <p:spPr bwMode="auto">
                <a:xfrm>
                  <a:off x="4115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6" name="Rectangle 74"/>
                <p:cNvSpPr>
                  <a:spLocks noChangeArrowheads="1"/>
                </p:cNvSpPr>
                <p:nvPr/>
              </p:nvSpPr>
              <p:spPr bwMode="auto">
                <a:xfrm>
                  <a:off x="3849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7" name="Rectangle 75"/>
                <p:cNvSpPr>
                  <a:spLocks noChangeArrowheads="1"/>
                </p:cNvSpPr>
                <p:nvPr/>
              </p:nvSpPr>
              <p:spPr bwMode="auto">
                <a:xfrm>
                  <a:off x="3579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8" name="Rectangle 76"/>
                <p:cNvSpPr>
                  <a:spLocks noChangeArrowheads="1"/>
                </p:cNvSpPr>
                <p:nvPr/>
              </p:nvSpPr>
              <p:spPr bwMode="auto">
                <a:xfrm>
                  <a:off x="3313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9" name="Rectangle 77"/>
                <p:cNvSpPr>
                  <a:spLocks noChangeArrowheads="1"/>
                </p:cNvSpPr>
                <p:nvPr/>
              </p:nvSpPr>
              <p:spPr bwMode="auto">
                <a:xfrm>
                  <a:off x="3044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0" name="Rectangle 78"/>
                <p:cNvSpPr>
                  <a:spLocks noChangeArrowheads="1"/>
                </p:cNvSpPr>
                <p:nvPr/>
              </p:nvSpPr>
              <p:spPr bwMode="auto">
                <a:xfrm>
                  <a:off x="2777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1" name="Rectangle 79"/>
                <p:cNvSpPr>
                  <a:spLocks noChangeArrowheads="1"/>
                </p:cNvSpPr>
                <p:nvPr/>
              </p:nvSpPr>
              <p:spPr bwMode="auto">
                <a:xfrm>
                  <a:off x="2511" y="519"/>
                  <a:ext cx="56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2" name="Rectangle 80"/>
                <p:cNvSpPr>
                  <a:spLocks noChangeArrowheads="1"/>
                </p:cNvSpPr>
                <p:nvPr/>
              </p:nvSpPr>
              <p:spPr bwMode="auto">
                <a:xfrm>
                  <a:off x="2242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3" name="Rectangle 81"/>
                <p:cNvSpPr>
                  <a:spLocks noChangeArrowheads="1"/>
                </p:cNvSpPr>
                <p:nvPr/>
              </p:nvSpPr>
              <p:spPr bwMode="auto">
                <a:xfrm>
                  <a:off x="1976" y="519"/>
                  <a:ext cx="58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4" name="Rectangle 82"/>
                <p:cNvSpPr>
                  <a:spLocks noChangeArrowheads="1"/>
                </p:cNvSpPr>
                <p:nvPr/>
              </p:nvSpPr>
              <p:spPr bwMode="auto">
                <a:xfrm>
                  <a:off x="1706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5" name="Rectangle 83"/>
                <p:cNvSpPr>
                  <a:spLocks noChangeArrowheads="1"/>
                </p:cNvSpPr>
                <p:nvPr/>
              </p:nvSpPr>
              <p:spPr bwMode="auto">
                <a:xfrm>
                  <a:off x="1440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6" name="Rectangle 84"/>
                <p:cNvSpPr>
                  <a:spLocks noChangeArrowheads="1"/>
                </p:cNvSpPr>
                <p:nvPr/>
              </p:nvSpPr>
              <p:spPr bwMode="auto">
                <a:xfrm>
                  <a:off x="1170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7" name="Rectangle 85"/>
                <p:cNvSpPr>
                  <a:spLocks noChangeArrowheads="1"/>
                </p:cNvSpPr>
                <p:nvPr/>
              </p:nvSpPr>
              <p:spPr bwMode="auto">
                <a:xfrm>
                  <a:off x="904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8" name="Rectangle 86"/>
                <p:cNvSpPr>
                  <a:spLocks noChangeArrowheads="1"/>
                </p:cNvSpPr>
                <p:nvPr/>
              </p:nvSpPr>
              <p:spPr bwMode="auto">
                <a:xfrm>
                  <a:off x="638" y="519"/>
                  <a:ext cx="55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9" name="Rectangle 87"/>
                <p:cNvSpPr>
                  <a:spLocks noChangeArrowheads="1"/>
                </p:cNvSpPr>
                <p:nvPr/>
              </p:nvSpPr>
              <p:spPr bwMode="auto">
                <a:xfrm>
                  <a:off x="368" y="519"/>
                  <a:ext cx="59" cy="217"/>
                </a:xfrm>
                <a:prstGeom prst="rect">
                  <a:avLst/>
                </a:prstGeom>
                <a:solidFill>
                  <a:srgbClr val="879BAA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0" name="Oval 88"/>
                <p:cNvSpPr>
                  <a:spLocks noChangeArrowheads="1"/>
                </p:cNvSpPr>
                <p:nvPr/>
              </p:nvSpPr>
              <p:spPr bwMode="auto">
                <a:xfrm>
                  <a:off x="334" y="2953"/>
                  <a:ext cx="535" cy="53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1" name="Oval 89"/>
                <p:cNvSpPr>
                  <a:spLocks noChangeArrowheads="1"/>
                </p:cNvSpPr>
                <p:nvPr/>
              </p:nvSpPr>
              <p:spPr bwMode="auto">
                <a:xfrm>
                  <a:off x="5771" y="187"/>
                  <a:ext cx="536" cy="536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2" name="Rectangle 90"/>
                <p:cNvSpPr>
                  <a:spLocks noChangeArrowheads="1"/>
                </p:cNvSpPr>
                <p:nvPr/>
              </p:nvSpPr>
              <p:spPr bwMode="auto">
                <a:xfrm>
                  <a:off x="1872" y="1262"/>
                  <a:ext cx="1811" cy="1179"/>
                </a:xfrm>
                <a:prstGeom prst="rect">
                  <a:avLst/>
                </a:prstGeom>
                <a:solidFill>
                  <a:srgbClr val="AAE6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3" name="Rectangle 91"/>
                <p:cNvSpPr>
                  <a:spLocks noChangeArrowheads="1"/>
                </p:cNvSpPr>
                <p:nvPr/>
              </p:nvSpPr>
              <p:spPr bwMode="auto">
                <a:xfrm>
                  <a:off x="465" y="1269"/>
                  <a:ext cx="591" cy="553"/>
                </a:xfrm>
                <a:prstGeom prst="rect">
                  <a:avLst/>
                </a:prstGeom>
                <a:solidFill>
                  <a:srgbClr val="AAE6F5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miter lim="800000"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4" name="Oval 92"/>
                <p:cNvSpPr>
                  <a:spLocks noChangeArrowheads="1"/>
                </p:cNvSpPr>
                <p:nvPr/>
              </p:nvSpPr>
              <p:spPr bwMode="auto">
                <a:xfrm>
                  <a:off x="5242" y="1418"/>
                  <a:ext cx="854" cy="854"/>
                </a:xfrm>
                <a:prstGeom prst="ellipse">
                  <a:avLst/>
                </a:prstGeom>
                <a:solidFill>
                  <a:srgbClr val="BECDD7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5" name="Oval 93"/>
                <p:cNvSpPr>
                  <a:spLocks noChangeArrowheads="1"/>
                </p:cNvSpPr>
                <p:nvPr/>
              </p:nvSpPr>
              <p:spPr bwMode="auto">
                <a:xfrm>
                  <a:off x="5342" y="1518"/>
                  <a:ext cx="654" cy="653"/>
                </a:xfrm>
                <a:prstGeom prst="ellipse">
                  <a:avLst/>
                </a:prstGeom>
                <a:solidFill>
                  <a:srgbClr val="9BAFBE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6" name="Oval 94"/>
                <p:cNvSpPr>
                  <a:spLocks noChangeArrowheads="1"/>
                </p:cNvSpPr>
                <p:nvPr/>
              </p:nvSpPr>
              <p:spPr bwMode="auto">
                <a:xfrm>
                  <a:off x="507" y="2202"/>
                  <a:ext cx="508" cy="229"/>
                </a:xfrm>
                <a:prstGeom prst="ellipse">
                  <a:avLst/>
                </a:prstGeom>
                <a:solidFill>
                  <a:srgbClr val="ADBE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7" name="Oval 95"/>
                <p:cNvSpPr>
                  <a:spLocks noChangeArrowheads="1"/>
                </p:cNvSpPr>
                <p:nvPr/>
              </p:nvSpPr>
              <p:spPr bwMode="auto">
                <a:xfrm>
                  <a:off x="4782" y="2202"/>
                  <a:ext cx="505" cy="229"/>
                </a:xfrm>
                <a:prstGeom prst="ellipse">
                  <a:avLst/>
                </a:prstGeom>
                <a:solidFill>
                  <a:srgbClr val="ADBECB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pic>
            <p:nvPicPr>
              <p:cNvPr id="434" name="Picture 2" descr="C:\Users\fbuser\AppData\Local\Temp\vmware-fbuser\VMwareDnD\688ce5eb\Controller_offen.emf"/>
              <p:cNvPicPr>
                <a:picLocks noChangeAspect="1" noChangeArrowheads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615867" y="1995110"/>
                <a:ext cx="2088000" cy="123329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35" name="TextBox 250"/>
              <p:cNvSpPr txBox="1"/>
              <p:nvPr/>
            </p:nvSpPr>
            <p:spPr>
              <a:xfrm>
                <a:off x="5088224" y="3288130"/>
                <a:ext cx="449790" cy="2489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5V </a:t>
                </a:r>
              </a:p>
            </p:txBody>
          </p:sp>
          <p:sp>
            <p:nvSpPr>
              <p:cNvPr id="436" name="TextBox 250"/>
              <p:cNvSpPr txBox="1"/>
              <p:nvPr/>
            </p:nvSpPr>
            <p:spPr>
              <a:xfrm>
                <a:off x="3651871" y="3288130"/>
                <a:ext cx="1161393" cy="24890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noAutofit/>
              </a:bodyPr>
              <a:lstStyle/>
              <a:p>
                <a:pPr>
                  <a:lnSpc>
                    <a:spcPct val="110000"/>
                  </a:lnSpc>
                  <a:spcBef>
                    <a:spcPts val="0"/>
                  </a:spcBef>
                </a:pP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Output</a:t>
                </a:r>
                <a:r>
                  <a:rPr lang="de-DE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: </a:t>
                </a:r>
                <a:r>
                  <a:rPr lang="en-GB" sz="1400" dirty="0" smtClean="0">
                    <a:solidFill>
                      <a:srgbClr val="00646E"/>
                    </a:solidFill>
                    <a:latin typeface="+mn-lt"/>
                    <a:ea typeface="Arial Unicode MS" panose="020B0604020202020204" pitchFamily="34" charset="-128"/>
                    <a:cs typeface="Arial Unicode MS" panose="020B0604020202020204" pitchFamily="34" charset="-128"/>
                  </a:rPr>
                  <a:t>10V </a:t>
                </a:r>
              </a:p>
            </p:txBody>
          </p:sp>
        </p:grpSp>
        <p:grpSp>
          <p:nvGrpSpPr>
            <p:cNvPr id="409" name="Gruppieren 14"/>
            <p:cNvGrpSpPr/>
            <p:nvPr/>
          </p:nvGrpSpPr>
          <p:grpSpPr>
            <a:xfrm>
              <a:off x="4428930" y="4365104"/>
              <a:ext cx="2765923" cy="1297839"/>
              <a:chOff x="4428930" y="4365104"/>
              <a:chExt cx="2765923" cy="1297839"/>
            </a:xfrm>
          </p:grpSpPr>
          <p:cxnSp>
            <p:nvCxnSpPr>
              <p:cNvPr id="426" name="Gerade Verbindung 325"/>
              <p:cNvCxnSpPr>
                <a:endCxn id="427" idx="0"/>
              </p:cNvCxnSpPr>
              <p:nvPr/>
            </p:nvCxnSpPr>
            <p:spPr bwMode="auto">
              <a:xfrm flipH="1">
                <a:off x="4563410" y="4381086"/>
                <a:ext cx="1788762" cy="519955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27" name="Ellipse 326"/>
              <p:cNvSpPr/>
              <p:nvPr/>
            </p:nvSpPr>
            <p:spPr bwMode="auto">
              <a:xfrm>
                <a:off x="4428930" y="4901041"/>
                <a:ext cx="268960" cy="268960"/>
              </a:xfrm>
              <a:prstGeom prst="ellipse">
                <a:avLst/>
              </a:prstGeom>
              <a:noFill/>
              <a:ln w="25400">
                <a:solidFill>
                  <a:srgbClr val="4BB9B9"/>
                </a:solidFill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 smtClean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cxnSp>
            <p:nvCxnSpPr>
              <p:cNvPr id="428" name="Gerade Verbindung 327"/>
              <p:cNvCxnSpPr>
                <a:endCxn id="427" idx="4"/>
              </p:cNvCxnSpPr>
              <p:nvPr/>
            </p:nvCxnSpPr>
            <p:spPr bwMode="auto">
              <a:xfrm flipH="1" flipV="1">
                <a:off x="4563410" y="5170001"/>
                <a:ext cx="1868824" cy="49294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429" name="Picture 2"/>
              <p:cNvPicPr>
                <a:picLocks noChangeAspect="1" noChangeArrowheads="1"/>
              </p:cNvPicPr>
              <p:nvPr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181" t="18560" r="46084" b="18560"/>
              <a:stretch/>
            </p:blipFill>
            <p:spPr bwMode="auto">
              <a:xfrm>
                <a:off x="5898852" y="4365104"/>
                <a:ext cx="1296001" cy="1297838"/>
              </a:xfrm>
              <a:prstGeom prst="ellipse">
                <a:avLst/>
              </a:prstGeom>
              <a:noFill/>
              <a:ln w="25400">
                <a:solidFill>
                  <a:srgbClr val="41AAAA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sp>
          <p:nvSpPr>
            <p:cNvPr id="410" name="TextBox 250"/>
            <p:cNvSpPr txBox="1"/>
            <p:nvPr/>
          </p:nvSpPr>
          <p:spPr>
            <a:xfrm>
              <a:off x="6394338" y="4798846"/>
              <a:ext cx="1070036" cy="4686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5</a:t>
              </a:r>
              <a:r>
                <a:rPr lang="en-GB" sz="1200" b="1" baseline="50000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</a:t>
              </a: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 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000ppm</a:t>
              </a:r>
            </a:p>
          </p:txBody>
        </p:sp>
        <p:sp>
          <p:nvSpPr>
            <p:cNvPr id="411" name="TextBox 250"/>
            <p:cNvSpPr txBox="1"/>
            <p:nvPr/>
          </p:nvSpPr>
          <p:spPr>
            <a:xfrm>
              <a:off x="10636228" y="4823437"/>
              <a:ext cx="1027513" cy="46860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0</a:t>
              </a:r>
              <a:r>
                <a:rPr lang="en-GB" sz="1200" b="1" baseline="50000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o</a:t>
              </a: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 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GB" sz="1200" b="1" dirty="0" smtClean="0">
                  <a:solidFill>
                    <a:srgbClr val="00466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1000ppm</a:t>
              </a:r>
            </a:p>
          </p:txBody>
        </p:sp>
        <p:grpSp>
          <p:nvGrpSpPr>
            <p:cNvPr id="412" name="Gruppieren 9"/>
            <p:cNvGrpSpPr/>
            <p:nvPr/>
          </p:nvGrpSpPr>
          <p:grpSpPr>
            <a:xfrm>
              <a:off x="5017747" y="1988840"/>
              <a:ext cx="2197965" cy="1296001"/>
              <a:chOff x="5017747" y="1988840"/>
              <a:chExt cx="2197965" cy="1296001"/>
            </a:xfrm>
          </p:grpSpPr>
          <p:cxnSp>
            <p:nvCxnSpPr>
              <p:cNvPr id="422" name="Gerade Verbindung 204"/>
              <p:cNvCxnSpPr>
                <a:endCxn id="423" idx="0"/>
              </p:cNvCxnSpPr>
              <p:nvPr/>
            </p:nvCxnSpPr>
            <p:spPr bwMode="auto">
              <a:xfrm flipH="1">
                <a:off x="5152227" y="1995110"/>
                <a:ext cx="1277330" cy="31233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23" name="Ellipse 205"/>
              <p:cNvSpPr/>
              <p:nvPr/>
            </p:nvSpPr>
            <p:spPr bwMode="auto">
              <a:xfrm>
                <a:off x="5017747" y="2307440"/>
                <a:ext cx="268960" cy="268960"/>
              </a:xfrm>
              <a:prstGeom prst="ellipse">
                <a:avLst/>
              </a:prstGeom>
              <a:noFill/>
              <a:ln w="19050">
                <a:solidFill>
                  <a:srgbClr val="4BB9B9"/>
                </a:solidFill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 smtClean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cxnSp>
            <p:nvCxnSpPr>
              <p:cNvPr id="424" name="Gerade Verbindung 206"/>
              <p:cNvCxnSpPr>
                <a:endCxn id="423" idx="4"/>
              </p:cNvCxnSpPr>
              <p:nvPr/>
            </p:nvCxnSpPr>
            <p:spPr bwMode="auto">
              <a:xfrm flipH="1" flipV="1">
                <a:off x="5101736" y="2576400"/>
                <a:ext cx="1110813" cy="606842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425" name="Picture 5"/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345" t="7285" r="12278" b="48055"/>
              <a:stretch/>
            </p:blipFill>
            <p:spPr bwMode="auto">
              <a:xfrm>
                <a:off x="5919711" y="1988840"/>
                <a:ext cx="1296001" cy="1296001"/>
              </a:xfrm>
              <a:prstGeom prst="ellipse">
                <a:avLst/>
              </a:prstGeom>
              <a:noFill/>
              <a:ln w="25400">
                <a:solidFill>
                  <a:srgbClr val="41AAAA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413" name="Gerade Verbindung 10"/>
            <p:cNvCxnSpPr/>
            <p:nvPr/>
          </p:nvCxnSpPr>
          <p:spPr bwMode="auto">
            <a:xfrm>
              <a:off x="6394338" y="2707628"/>
              <a:ext cx="0" cy="288000"/>
            </a:xfrm>
            <a:prstGeom prst="line">
              <a:avLst/>
            </a:prstGeom>
            <a:solidFill>
              <a:schemeClr val="tx2"/>
            </a:solidFill>
            <a:ln w="127000" cap="rnd" cmpd="sng" algn="ctr">
              <a:solidFill>
                <a:srgbClr val="4BB9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4" name="Gerade Verbindung 223"/>
            <p:cNvCxnSpPr/>
            <p:nvPr/>
          </p:nvCxnSpPr>
          <p:spPr bwMode="auto">
            <a:xfrm>
              <a:off x="5099232" y="2387920"/>
              <a:ext cx="0" cy="126000"/>
            </a:xfrm>
            <a:prstGeom prst="line">
              <a:avLst/>
            </a:prstGeom>
            <a:solidFill>
              <a:schemeClr val="tx2"/>
            </a:solidFill>
            <a:ln w="53975" cap="rnd" cmpd="sng" algn="ctr">
              <a:solidFill>
                <a:srgbClr val="4BB9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5" name="Gruppieren 11"/>
            <p:cNvGrpSpPr/>
            <p:nvPr/>
          </p:nvGrpSpPr>
          <p:grpSpPr>
            <a:xfrm>
              <a:off x="9228708" y="1995109"/>
              <a:ext cx="2235063" cy="1296000"/>
              <a:chOff x="9228708" y="1995109"/>
              <a:chExt cx="2235063" cy="1296000"/>
            </a:xfrm>
          </p:grpSpPr>
          <p:cxnSp>
            <p:nvCxnSpPr>
              <p:cNvPr id="418" name="Gerade Verbindung 330"/>
              <p:cNvCxnSpPr>
                <a:endCxn id="419" idx="0"/>
              </p:cNvCxnSpPr>
              <p:nvPr/>
            </p:nvCxnSpPr>
            <p:spPr bwMode="auto">
              <a:xfrm flipH="1">
                <a:off x="9363188" y="1995109"/>
                <a:ext cx="1309051" cy="216024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419" name="Ellipse 331"/>
              <p:cNvSpPr/>
              <p:nvPr/>
            </p:nvSpPr>
            <p:spPr bwMode="auto">
              <a:xfrm>
                <a:off x="9228708" y="2211133"/>
                <a:ext cx="268960" cy="268960"/>
              </a:xfrm>
              <a:prstGeom prst="ellipse">
                <a:avLst/>
              </a:prstGeom>
              <a:noFill/>
              <a:ln w="19050">
                <a:solidFill>
                  <a:srgbClr val="4BB9B9"/>
                </a:solidFill>
              </a:ln>
              <a:effectLst/>
              <a:extLst/>
            </p:spPr>
            <p:txBody>
              <a:bodyPr wrap="square" lIns="108000" tIns="54000" rIns="108000" bIns="54000" numCol="1" spcCol="72000" rtlCol="0" anchor="ctr">
                <a:noAutofit/>
              </a:bodyPr>
              <a:lstStyle/>
              <a:p>
                <a:pPr algn="ctr">
                  <a:lnSpc>
                    <a:spcPct val="110000"/>
                  </a:lnSpc>
                  <a:spcBef>
                    <a:spcPct val="0"/>
                  </a:spcBef>
                  <a:buFont typeface="Wingdings" charset="0"/>
                  <a:buNone/>
                </a:pPr>
                <a:endParaRPr lang="en-US" sz="1800" dirty="0" smtClean="0">
                  <a:solidFill>
                    <a:schemeClr val="tx1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endParaRPr>
              </a:p>
            </p:txBody>
          </p:sp>
          <p:cxnSp>
            <p:nvCxnSpPr>
              <p:cNvPr id="420" name="Gerade Verbindung 332"/>
              <p:cNvCxnSpPr>
                <a:endCxn id="419" idx="4"/>
              </p:cNvCxnSpPr>
              <p:nvPr/>
            </p:nvCxnSpPr>
            <p:spPr bwMode="auto">
              <a:xfrm flipH="1" flipV="1">
                <a:off x="9363188" y="2480093"/>
                <a:ext cx="1093027" cy="703149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rgbClr val="4BB9B9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pic>
            <p:nvPicPr>
              <p:cNvPr id="421" name="Picture 5"/>
              <p:cNvPicPr>
                <a:picLocks noChangeAspect="1" noChangeArrowheads="1"/>
              </p:cNvPicPr>
              <p:nvPr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61345" t="7285" r="12278" b="48055"/>
              <a:stretch/>
            </p:blipFill>
            <p:spPr bwMode="auto">
              <a:xfrm>
                <a:off x="10167771" y="1995109"/>
                <a:ext cx="1296000" cy="1296000"/>
              </a:xfrm>
              <a:prstGeom prst="ellipse">
                <a:avLst/>
              </a:prstGeom>
              <a:noFill/>
              <a:ln w="25400">
                <a:solidFill>
                  <a:srgbClr val="41AAAA"/>
                </a:solidFill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pic>
        </p:grpSp>
        <p:cxnSp>
          <p:nvCxnSpPr>
            <p:cNvPr id="416" name="Gerade Verbindung 334"/>
            <p:cNvCxnSpPr/>
            <p:nvPr/>
          </p:nvCxnSpPr>
          <p:spPr bwMode="auto">
            <a:xfrm>
              <a:off x="10651826" y="2441920"/>
              <a:ext cx="0" cy="288000"/>
            </a:xfrm>
            <a:prstGeom prst="line">
              <a:avLst/>
            </a:prstGeom>
            <a:solidFill>
              <a:schemeClr val="tx2"/>
            </a:solidFill>
            <a:ln w="127000" cap="rnd" cmpd="sng" algn="ctr">
              <a:solidFill>
                <a:srgbClr val="4BB9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417" name="Gerade Verbindung 335"/>
            <p:cNvCxnSpPr/>
            <p:nvPr/>
          </p:nvCxnSpPr>
          <p:spPr bwMode="auto">
            <a:xfrm>
              <a:off x="9342909" y="2268189"/>
              <a:ext cx="0" cy="126000"/>
            </a:xfrm>
            <a:prstGeom prst="line">
              <a:avLst/>
            </a:prstGeom>
            <a:solidFill>
              <a:schemeClr val="tx2"/>
            </a:solidFill>
            <a:ln w="53975" cap="rnd" cmpd="sng" algn="ctr">
              <a:solidFill>
                <a:srgbClr val="4BB9B9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8767232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-10653" y="0"/>
            <a:ext cx="12198350" cy="1448780"/>
          </a:xfrm>
        </p:spPr>
        <p:txBody>
          <a:bodyPr/>
          <a:lstStyle/>
          <a:p>
            <a:r>
              <a:rPr lang="ru-RU" dirty="0"/>
              <a:t>Датчики </a:t>
            </a:r>
            <a:r>
              <a:rPr lang="en-US" dirty="0" err="1"/>
              <a:t>Symaro</a:t>
            </a:r>
            <a:r>
              <a:rPr lang="ru-RU" dirty="0"/>
              <a:t> </a:t>
            </a:r>
            <a:r>
              <a:rPr lang="ru-RU" dirty="0" smtClean="0"/>
              <a:t>– точность измерений</a:t>
            </a:r>
            <a:endParaRPr lang="en-US" altLang="de-DE" dirty="0"/>
          </a:p>
        </p:txBody>
      </p:sp>
      <p:sp>
        <p:nvSpPr>
          <p:cNvPr id="6" name="Textfeld 5"/>
          <p:cNvSpPr txBox="1"/>
          <p:nvPr/>
        </p:nvSpPr>
        <p:spPr>
          <a:xfrm>
            <a:off x="446547" y="3050304"/>
            <a:ext cx="5148523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атчики </a:t>
            </a:r>
            <a:r>
              <a:rPr lang="en-US" sz="2000" b="1" dirty="0" err="1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Symaro</a:t>
            </a:r>
            <a:r>
              <a:rPr lang="en-US" sz="20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endParaRPr lang="ru-RU" sz="2000" b="1" dirty="0" smtClean="0">
              <a:solidFill>
                <a:srgbClr val="3C464B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6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Измерение всегда верное, </a:t>
            </a:r>
            <a:r>
              <a:rPr lang="ru-RU" sz="16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о 8 лет без калибровки</a:t>
            </a:r>
            <a:endParaRPr lang="en-US" sz="1600" b="1" dirty="0">
              <a:solidFill>
                <a:srgbClr val="3C464B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59" name="Freeform 79"/>
          <p:cNvSpPr>
            <a:spLocks/>
          </p:cNvSpPr>
          <p:nvPr/>
        </p:nvSpPr>
        <p:spPr bwMode="auto">
          <a:xfrm>
            <a:off x="4015885" y="1160377"/>
            <a:ext cx="822217" cy="576805"/>
          </a:xfrm>
          <a:custGeom>
            <a:avLst/>
            <a:gdLst>
              <a:gd name="T0" fmla="*/ 322 w 961"/>
              <a:gd name="T1" fmla="*/ 535 h 748"/>
              <a:gd name="T2" fmla="*/ 854 w 961"/>
              <a:gd name="T3" fmla="*/ 0 h 748"/>
              <a:gd name="T4" fmla="*/ 961 w 961"/>
              <a:gd name="T5" fmla="*/ 106 h 748"/>
              <a:gd name="T6" fmla="*/ 322 w 961"/>
              <a:gd name="T7" fmla="*/ 748 h 748"/>
              <a:gd name="T8" fmla="*/ 0 w 961"/>
              <a:gd name="T9" fmla="*/ 426 h 748"/>
              <a:gd name="T10" fmla="*/ 109 w 961"/>
              <a:gd name="T11" fmla="*/ 319 h 748"/>
              <a:gd name="T12" fmla="*/ 322 w 961"/>
              <a:gd name="T13" fmla="*/ 53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61" h="748">
                <a:moveTo>
                  <a:pt x="322" y="535"/>
                </a:moveTo>
                <a:lnTo>
                  <a:pt x="854" y="0"/>
                </a:lnTo>
                <a:lnTo>
                  <a:pt x="961" y="106"/>
                </a:lnTo>
                <a:lnTo>
                  <a:pt x="322" y="748"/>
                </a:lnTo>
                <a:lnTo>
                  <a:pt x="0" y="426"/>
                </a:lnTo>
                <a:lnTo>
                  <a:pt x="109" y="319"/>
                </a:lnTo>
                <a:lnTo>
                  <a:pt x="322" y="535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08" name="Textfeld 5"/>
          <p:cNvSpPr txBox="1"/>
          <p:nvPr/>
        </p:nvSpPr>
        <p:spPr>
          <a:xfrm>
            <a:off x="446547" y="5228290"/>
            <a:ext cx="5148522" cy="115108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20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Датчики других производителей</a:t>
            </a:r>
            <a:r>
              <a:rPr lang="en-US" sz="2000" b="1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600" dirty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К</a:t>
            </a:r>
            <a:r>
              <a:rPr lang="ru-RU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алибровка </a:t>
            </a:r>
            <a:r>
              <a:rPr lang="en-US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датчиков </a:t>
            </a:r>
            <a:r>
              <a:rPr lang="en-US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CO</a:t>
            </a:r>
            <a:r>
              <a:rPr lang="en-US" sz="1600" baseline="-250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2</a:t>
            </a:r>
            <a:r>
              <a:rPr lang="en-US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 </a:t>
            </a:r>
            <a:r>
              <a:rPr lang="ru-RU" sz="1600" dirty="0" smtClean="0">
                <a:solidFill>
                  <a:srgbClr val="3C464B"/>
                </a:solidFill>
                <a:ea typeface="Arial Unicode MS" panose="020B0604020202020204" pitchFamily="34" charset="-128"/>
                <a:cs typeface="Arial Unicode MS" panose="020B0604020202020204" pitchFamily="34" charset="-128"/>
              </a:rPr>
              <a:t>по нижнему значению каждые 2 недели. Неправильные измерения в помещениях с постоянным присутствием</a:t>
            </a:r>
            <a:endParaRPr lang="en-US" sz="1600" dirty="0">
              <a:solidFill>
                <a:srgbClr val="3C464B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446547" y="1449388"/>
            <a:ext cx="4160466" cy="3756952"/>
            <a:chOff x="6259190" y="1449388"/>
            <a:chExt cx="4160466" cy="3756952"/>
          </a:xfrm>
        </p:grpSpPr>
        <p:sp>
          <p:nvSpPr>
            <p:cNvPr id="162" name="Freeform 73"/>
            <p:cNvSpPr>
              <a:spLocks/>
            </p:cNvSpPr>
            <p:nvPr/>
          </p:nvSpPr>
          <p:spPr bwMode="auto">
            <a:xfrm>
              <a:off x="6265991" y="2255879"/>
              <a:ext cx="1382613" cy="190266"/>
            </a:xfrm>
            <a:custGeom>
              <a:avLst/>
              <a:gdLst>
                <a:gd name="T0" fmla="*/ 0 w 3575"/>
                <a:gd name="T1" fmla="*/ 353 h 438"/>
                <a:gd name="T2" fmla="*/ 116 w 3575"/>
                <a:gd name="T3" fmla="*/ 307 h 438"/>
                <a:gd name="T4" fmla="*/ 262 w 3575"/>
                <a:gd name="T5" fmla="*/ 301 h 438"/>
                <a:gd name="T6" fmla="*/ 390 w 3575"/>
                <a:gd name="T7" fmla="*/ 383 h 438"/>
                <a:gd name="T8" fmla="*/ 530 w 3575"/>
                <a:gd name="T9" fmla="*/ 438 h 438"/>
                <a:gd name="T10" fmla="*/ 618 w 3575"/>
                <a:gd name="T11" fmla="*/ 408 h 438"/>
                <a:gd name="T12" fmla="*/ 721 w 3575"/>
                <a:gd name="T13" fmla="*/ 341 h 438"/>
                <a:gd name="T14" fmla="*/ 837 w 3575"/>
                <a:gd name="T15" fmla="*/ 389 h 438"/>
                <a:gd name="T16" fmla="*/ 940 w 3575"/>
                <a:gd name="T17" fmla="*/ 329 h 438"/>
                <a:gd name="T18" fmla="*/ 1056 w 3575"/>
                <a:gd name="T19" fmla="*/ 307 h 438"/>
                <a:gd name="T20" fmla="*/ 1193 w 3575"/>
                <a:gd name="T21" fmla="*/ 222 h 438"/>
                <a:gd name="T22" fmla="*/ 1275 w 3575"/>
                <a:gd name="T23" fmla="*/ 283 h 438"/>
                <a:gd name="T24" fmla="*/ 1378 w 3575"/>
                <a:gd name="T25" fmla="*/ 146 h 438"/>
                <a:gd name="T26" fmla="*/ 1597 w 3575"/>
                <a:gd name="T27" fmla="*/ 173 h 438"/>
                <a:gd name="T28" fmla="*/ 1695 w 3575"/>
                <a:gd name="T29" fmla="*/ 152 h 438"/>
                <a:gd name="T30" fmla="*/ 1841 w 3575"/>
                <a:gd name="T31" fmla="*/ 186 h 438"/>
                <a:gd name="T32" fmla="*/ 2017 w 3575"/>
                <a:gd name="T33" fmla="*/ 246 h 438"/>
                <a:gd name="T34" fmla="*/ 2157 w 3575"/>
                <a:gd name="T35" fmla="*/ 234 h 438"/>
                <a:gd name="T36" fmla="*/ 2173 w 3575"/>
                <a:gd name="T37" fmla="*/ 146 h 438"/>
                <a:gd name="T38" fmla="*/ 2297 w 3575"/>
                <a:gd name="T39" fmla="*/ 137 h 438"/>
                <a:gd name="T40" fmla="*/ 2389 w 3575"/>
                <a:gd name="T41" fmla="*/ 164 h 438"/>
                <a:gd name="T42" fmla="*/ 2535 w 3575"/>
                <a:gd name="T43" fmla="*/ 58 h 438"/>
                <a:gd name="T44" fmla="*/ 2638 w 3575"/>
                <a:gd name="T45" fmla="*/ 58 h 438"/>
                <a:gd name="T46" fmla="*/ 2723 w 3575"/>
                <a:gd name="T47" fmla="*/ 0 h 438"/>
                <a:gd name="T48" fmla="*/ 2824 w 3575"/>
                <a:gd name="T49" fmla="*/ 58 h 438"/>
                <a:gd name="T50" fmla="*/ 2967 w 3575"/>
                <a:gd name="T51" fmla="*/ 97 h 438"/>
                <a:gd name="T52" fmla="*/ 3103 w 3575"/>
                <a:gd name="T53" fmla="*/ 18 h 438"/>
                <a:gd name="T54" fmla="*/ 3259 w 3575"/>
                <a:gd name="T55" fmla="*/ 12 h 438"/>
                <a:gd name="T56" fmla="*/ 3313 w 3575"/>
                <a:gd name="T57" fmla="*/ 67 h 438"/>
                <a:gd name="T58" fmla="*/ 3484 w 3575"/>
                <a:gd name="T59" fmla="*/ 116 h 438"/>
                <a:gd name="T60" fmla="*/ 3575 w 3575"/>
                <a:gd name="T61" fmla="*/ 61 h 438"/>
                <a:gd name="connsiteX0" fmla="*/ 0 w 9745"/>
                <a:gd name="connsiteY0" fmla="*/ 8059 h 10000"/>
                <a:gd name="connsiteX1" fmla="*/ 324 w 9745"/>
                <a:gd name="connsiteY1" fmla="*/ 7009 h 10000"/>
                <a:gd name="connsiteX2" fmla="*/ 733 w 9745"/>
                <a:gd name="connsiteY2" fmla="*/ 6872 h 10000"/>
                <a:gd name="connsiteX3" fmla="*/ 1091 w 9745"/>
                <a:gd name="connsiteY3" fmla="*/ 8744 h 10000"/>
                <a:gd name="connsiteX4" fmla="*/ 1483 w 9745"/>
                <a:gd name="connsiteY4" fmla="*/ 10000 h 10000"/>
                <a:gd name="connsiteX5" fmla="*/ 1729 w 9745"/>
                <a:gd name="connsiteY5" fmla="*/ 9315 h 10000"/>
                <a:gd name="connsiteX6" fmla="*/ 2017 w 9745"/>
                <a:gd name="connsiteY6" fmla="*/ 7785 h 10000"/>
                <a:gd name="connsiteX7" fmla="*/ 2341 w 9745"/>
                <a:gd name="connsiteY7" fmla="*/ 8881 h 10000"/>
                <a:gd name="connsiteX8" fmla="*/ 2629 w 9745"/>
                <a:gd name="connsiteY8" fmla="*/ 7511 h 10000"/>
                <a:gd name="connsiteX9" fmla="*/ 2954 w 9745"/>
                <a:gd name="connsiteY9" fmla="*/ 7009 h 10000"/>
                <a:gd name="connsiteX10" fmla="*/ 3337 w 9745"/>
                <a:gd name="connsiteY10" fmla="*/ 5068 h 10000"/>
                <a:gd name="connsiteX11" fmla="*/ 3566 w 9745"/>
                <a:gd name="connsiteY11" fmla="*/ 6461 h 10000"/>
                <a:gd name="connsiteX12" fmla="*/ 3855 w 9745"/>
                <a:gd name="connsiteY12" fmla="*/ 3333 h 10000"/>
                <a:gd name="connsiteX13" fmla="*/ 4467 w 9745"/>
                <a:gd name="connsiteY13" fmla="*/ 3950 h 10000"/>
                <a:gd name="connsiteX14" fmla="*/ 4741 w 9745"/>
                <a:gd name="connsiteY14" fmla="*/ 3470 h 10000"/>
                <a:gd name="connsiteX15" fmla="*/ 5150 w 9745"/>
                <a:gd name="connsiteY15" fmla="*/ 4247 h 10000"/>
                <a:gd name="connsiteX16" fmla="*/ 5642 w 9745"/>
                <a:gd name="connsiteY16" fmla="*/ 5616 h 10000"/>
                <a:gd name="connsiteX17" fmla="*/ 6034 w 9745"/>
                <a:gd name="connsiteY17" fmla="*/ 5342 h 10000"/>
                <a:gd name="connsiteX18" fmla="*/ 6078 w 9745"/>
                <a:gd name="connsiteY18" fmla="*/ 3333 h 10000"/>
                <a:gd name="connsiteX19" fmla="*/ 6425 w 9745"/>
                <a:gd name="connsiteY19" fmla="*/ 3128 h 10000"/>
                <a:gd name="connsiteX20" fmla="*/ 6683 w 9745"/>
                <a:gd name="connsiteY20" fmla="*/ 3744 h 10000"/>
                <a:gd name="connsiteX21" fmla="*/ 7091 w 9745"/>
                <a:gd name="connsiteY21" fmla="*/ 1324 h 10000"/>
                <a:gd name="connsiteX22" fmla="*/ 7379 w 9745"/>
                <a:gd name="connsiteY22" fmla="*/ 1324 h 10000"/>
                <a:gd name="connsiteX23" fmla="*/ 7617 w 9745"/>
                <a:gd name="connsiteY23" fmla="*/ 0 h 10000"/>
                <a:gd name="connsiteX24" fmla="*/ 7899 w 9745"/>
                <a:gd name="connsiteY24" fmla="*/ 1324 h 10000"/>
                <a:gd name="connsiteX25" fmla="*/ 8299 w 9745"/>
                <a:gd name="connsiteY25" fmla="*/ 2215 h 10000"/>
                <a:gd name="connsiteX26" fmla="*/ 8680 w 9745"/>
                <a:gd name="connsiteY26" fmla="*/ 411 h 10000"/>
                <a:gd name="connsiteX27" fmla="*/ 9116 w 9745"/>
                <a:gd name="connsiteY27" fmla="*/ 274 h 10000"/>
                <a:gd name="connsiteX28" fmla="*/ 9267 w 9745"/>
                <a:gd name="connsiteY28" fmla="*/ 1530 h 10000"/>
                <a:gd name="connsiteX29" fmla="*/ 9745 w 9745"/>
                <a:gd name="connsiteY29" fmla="*/ 2648 h 10000"/>
                <a:gd name="connsiteX0" fmla="*/ 0 w 9509"/>
                <a:gd name="connsiteY0" fmla="*/ 8059 h 10000"/>
                <a:gd name="connsiteX1" fmla="*/ 332 w 9509"/>
                <a:gd name="connsiteY1" fmla="*/ 7009 h 10000"/>
                <a:gd name="connsiteX2" fmla="*/ 752 w 9509"/>
                <a:gd name="connsiteY2" fmla="*/ 6872 h 10000"/>
                <a:gd name="connsiteX3" fmla="*/ 1120 w 9509"/>
                <a:gd name="connsiteY3" fmla="*/ 8744 h 10000"/>
                <a:gd name="connsiteX4" fmla="*/ 1522 w 9509"/>
                <a:gd name="connsiteY4" fmla="*/ 10000 h 10000"/>
                <a:gd name="connsiteX5" fmla="*/ 1774 w 9509"/>
                <a:gd name="connsiteY5" fmla="*/ 9315 h 10000"/>
                <a:gd name="connsiteX6" fmla="*/ 2070 w 9509"/>
                <a:gd name="connsiteY6" fmla="*/ 7785 h 10000"/>
                <a:gd name="connsiteX7" fmla="*/ 2402 w 9509"/>
                <a:gd name="connsiteY7" fmla="*/ 8881 h 10000"/>
                <a:gd name="connsiteX8" fmla="*/ 2698 w 9509"/>
                <a:gd name="connsiteY8" fmla="*/ 7511 h 10000"/>
                <a:gd name="connsiteX9" fmla="*/ 3031 w 9509"/>
                <a:gd name="connsiteY9" fmla="*/ 7009 h 10000"/>
                <a:gd name="connsiteX10" fmla="*/ 3424 w 9509"/>
                <a:gd name="connsiteY10" fmla="*/ 5068 h 10000"/>
                <a:gd name="connsiteX11" fmla="*/ 3659 w 9509"/>
                <a:gd name="connsiteY11" fmla="*/ 6461 h 10000"/>
                <a:gd name="connsiteX12" fmla="*/ 3956 w 9509"/>
                <a:gd name="connsiteY12" fmla="*/ 3333 h 10000"/>
                <a:gd name="connsiteX13" fmla="*/ 4584 w 9509"/>
                <a:gd name="connsiteY13" fmla="*/ 3950 h 10000"/>
                <a:gd name="connsiteX14" fmla="*/ 4865 w 9509"/>
                <a:gd name="connsiteY14" fmla="*/ 3470 h 10000"/>
                <a:gd name="connsiteX15" fmla="*/ 5285 w 9509"/>
                <a:gd name="connsiteY15" fmla="*/ 4247 h 10000"/>
                <a:gd name="connsiteX16" fmla="*/ 5790 w 9509"/>
                <a:gd name="connsiteY16" fmla="*/ 5616 h 10000"/>
                <a:gd name="connsiteX17" fmla="*/ 6192 w 9509"/>
                <a:gd name="connsiteY17" fmla="*/ 5342 h 10000"/>
                <a:gd name="connsiteX18" fmla="*/ 6237 w 9509"/>
                <a:gd name="connsiteY18" fmla="*/ 3333 h 10000"/>
                <a:gd name="connsiteX19" fmla="*/ 6593 w 9509"/>
                <a:gd name="connsiteY19" fmla="*/ 3128 h 10000"/>
                <a:gd name="connsiteX20" fmla="*/ 6858 w 9509"/>
                <a:gd name="connsiteY20" fmla="*/ 3744 h 10000"/>
                <a:gd name="connsiteX21" fmla="*/ 7277 w 9509"/>
                <a:gd name="connsiteY21" fmla="*/ 1324 h 10000"/>
                <a:gd name="connsiteX22" fmla="*/ 7572 w 9509"/>
                <a:gd name="connsiteY22" fmla="*/ 1324 h 10000"/>
                <a:gd name="connsiteX23" fmla="*/ 7816 w 9509"/>
                <a:gd name="connsiteY23" fmla="*/ 0 h 10000"/>
                <a:gd name="connsiteX24" fmla="*/ 8106 w 9509"/>
                <a:gd name="connsiteY24" fmla="*/ 1324 h 10000"/>
                <a:gd name="connsiteX25" fmla="*/ 8516 w 9509"/>
                <a:gd name="connsiteY25" fmla="*/ 2215 h 10000"/>
                <a:gd name="connsiteX26" fmla="*/ 8907 w 9509"/>
                <a:gd name="connsiteY26" fmla="*/ 411 h 10000"/>
                <a:gd name="connsiteX27" fmla="*/ 9355 w 9509"/>
                <a:gd name="connsiteY27" fmla="*/ 274 h 10000"/>
                <a:gd name="connsiteX28" fmla="*/ 9509 w 9509"/>
                <a:gd name="connsiteY28" fmla="*/ 1530 h 10000"/>
                <a:gd name="connsiteX0" fmla="*/ 0 w 9838"/>
                <a:gd name="connsiteY0" fmla="*/ 8059 h 10000"/>
                <a:gd name="connsiteX1" fmla="*/ 349 w 9838"/>
                <a:gd name="connsiteY1" fmla="*/ 7009 h 10000"/>
                <a:gd name="connsiteX2" fmla="*/ 791 w 9838"/>
                <a:gd name="connsiteY2" fmla="*/ 6872 h 10000"/>
                <a:gd name="connsiteX3" fmla="*/ 1178 w 9838"/>
                <a:gd name="connsiteY3" fmla="*/ 8744 h 10000"/>
                <a:gd name="connsiteX4" fmla="*/ 1601 w 9838"/>
                <a:gd name="connsiteY4" fmla="*/ 10000 h 10000"/>
                <a:gd name="connsiteX5" fmla="*/ 1866 w 9838"/>
                <a:gd name="connsiteY5" fmla="*/ 9315 h 10000"/>
                <a:gd name="connsiteX6" fmla="*/ 2177 w 9838"/>
                <a:gd name="connsiteY6" fmla="*/ 7785 h 10000"/>
                <a:gd name="connsiteX7" fmla="*/ 2526 w 9838"/>
                <a:gd name="connsiteY7" fmla="*/ 8881 h 10000"/>
                <a:gd name="connsiteX8" fmla="*/ 2837 w 9838"/>
                <a:gd name="connsiteY8" fmla="*/ 7511 h 10000"/>
                <a:gd name="connsiteX9" fmla="*/ 3188 w 9838"/>
                <a:gd name="connsiteY9" fmla="*/ 7009 h 10000"/>
                <a:gd name="connsiteX10" fmla="*/ 3601 w 9838"/>
                <a:gd name="connsiteY10" fmla="*/ 5068 h 10000"/>
                <a:gd name="connsiteX11" fmla="*/ 3848 w 9838"/>
                <a:gd name="connsiteY11" fmla="*/ 6461 h 10000"/>
                <a:gd name="connsiteX12" fmla="*/ 4160 w 9838"/>
                <a:gd name="connsiteY12" fmla="*/ 3333 h 10000"/>
                <a:gd name="connsiteX13" fmla="*/ 4821 w 9838"/>
                <a:gd name="connsiteY13" fmla="*/ 3950 h 10000"/>
                <a:gd name="connsiteX14" fmla="*/ 5116 w 9838"/>
                <a:gd name="connsiteY14" fmla="*/ 3470 h 10000"/>
                <a:gd name="connsiteX15" fmla="*/ 5558 w 9838"/>
                <a:gd name="connsiteY15" fmla="*/ 4247 h 10000"/>
                <a:gd name="connsiteX16" fmla="*/ 6089 w 9838"/>
                <a:gd name="connsiteY16" fmla="*/ 5616 h 10000"/>
                <a:gd name="connsiteX17" fmla="*/ 6512 w 9838"/>
                <a:gd name="connsiteY17" fmla="*/ 5342 h 10000"/>
                <a:gd name="connsiteX18" fmla="*/ 6559 w 9838"/>
                <a:gd name="connsiteY18" fmla="*/ 3333 h 10000"/>
                <a:gd name="connsiteX19" fmla="*/ 6933 w 9838"/>
                <a:gd name="connsiteY19" fmla="*/ 3128 h 10000"/>
                <a:gd name="connsiteX20" fmla="*/ 7212 w 9838"/>
                <a:gd name="connsiteY20" fmla="*/ 3744 h 10000"/>
                <a:gd name="connsiteX21" fmla="*/ 7653 w 9838"/>
                <a:gd name="connsiteY21" fmla="*/ 1324 h 10000"/>
                <a:gd name="connsiteX22" fmla="*/ 7963 w 9838"/>
                <a:gd name="connsiteY22" fmla="*/ 1324 h 10000"/>
                <a:gd name="connsiteX23" fmla="*/ 8220 w 9838"/>
                <a:gd name="connsiteY23" fmla="*/ 0 h 10000"/>
                <a:gd name="connsiteX24" fmla="*/ 8525 w 9838"/>
                <a:gd name="connsiteY24" fmla="*/ 1324 h 10000"/>
                <a:gd name="connsiteX25" fmla="*/ 8956 w 9838"/>
                <a:gd name="connsiteY25" fmla="*/ 2215 h 10000"/>
                <a:gd name="connsiteX26" fmla="*/ 9367 w 9838"/>
                <a:gd name="connsiteY26" fmla="*/ 411 h 10000"/>
                <a:gd name="connsiteX27" fmla="*/ 9838 w 9838"/>
                <a:gd name="connsiteY27" fmla="*/ 274 h 10000"/>
                <a:gd name="connsiteX0" fmla="*/ 0 w 9521"/>
                <a:gd name="connsiteY0" fmla="*/ 8059 h 10000"/>
                <a:gd name="connsiteX1" fmla="*/ 355 w 9521"/>
                <a:gd name="connsiteY1" fmla="*/ 7009 h 10000"/>
                <a:gd name="connsiteX2" fmla="*/ 804 w 9521"/>
                <a:gd name="connsiteY2" fmla="*/ 6872 h 10000"/>
                <a:gd name="connsiteX3" fmla="*/ 1197 w 9521"/>
                <a:gd name="connsiteY3" fmla="*/ 8744 h 10000"/>
                <a:gd name="connsiteX4" fmla="*/ 1627 w 9521"/>
                <a:gd name="connsiteY4" fmla="*/ 10000 h 10000"/>
                <a:gd name="connsiteX5" fmla="*/ 1897 w 9521"/>
                <a:gd name="connsiteY5" fmla="*/ 9315 h 10000"/>
                <a:gd name="connsiteX6" fmla="*/ 2213 w 9521"/>
                <a:gd name="connsiteY6" fmla="*/ 7785 h 10000"/>
                <a:gd name="connsiteX7" fmla="*/ 2568 w 9521"/>
                <a:gd name="connsiteY7" fmla="*/ 8881 h 10000"/>
                <a:gd name="connsiteX8" fmla="*/ 2884 w 9521"/>
                <a:gd name="connsiteY8" fmla="*/ 7511 h 10000"/>
                <a:gd name="connsiteX9" fmla="*/ 3240 w 9521"/>
                <a:gd name="connsiteY9" fmla="*/ 7009 h 10000"/>
                <a:gd name="connsiteX10" fmla="*/ 3660 w 9521"/>
                <a:gd name="connsiteY10" fmla="*/ 5068 h 10000"/>
                <a:gd name="connsiteX11" fmla="*/ 3911 w 9521"/>
                <a:gd name="connsiteY11" fmla="*/ 6461 h 10000"/>
                <a:gd name="connsiteX12" fmla="*/ 4229 w 9521"/>
                <a:gd name="connsiteY12" fmla="*/ 3333 h 10000"/>
                <a:gd name="connsiteX13" fmla="*/ 4900 w 9521"/>
                <a:gd name="connsiteY13" fmla="*/ 3950 h 10000"/>
                <a:gd name="connsiteX14" fmla="*/ 5200 w 9521"/>
                <a:gd name="connsiteY14" fmla="*/ 3470 h 10000"/>
                <a:gd name="connsiteX15" fmla="*/ 5650 w 9521"/>
                <a:gd name="connsiteY15" fmla="*/ 4247 h 10000"/>
                <a:gd name="connsiteX16" fmla="*/ 6189 w 9521"/>
                <a:gd name="connsiteY16" fmla="*/ 5616 h 10000"/>
                <a:gd name="connsiteX17" fmla="*/ 6619 w 9521"/>
                <a:gd name="connsiteY17" fmla="*/ 5342 h 10000"/>
                <a:gd name="connsiteX18" fmla="*/ 6667 w 9521"/>
                <a:gd name="connsiteY18" fmla="*/ 3333 h 10000"/>
                <a:gd name="connsiteX19" fmla="*/ 7047 w 9521"/>
                <a:gd name="connsiteY19" fmla="*/ 3128 h 10000"/>
                <a:gd name="connsiteX20" fmla="*/ 7331 w 9521"/>
                <a:gd name="connsiteY20" fmla="*/ 3744 h 10000"/>
                <a:gd name="connsiteX21" fmla="*/ 7779 w 9521"/>
                <a:gd name="connsiteY21" fmla="*/ 1324 h 10000"/>
                <a:gd name="connsiteX22" fmla="*/ 8094 w 9521"/>
                <a:gd name="connsiteY22" fmla="*/ 1324 h 10000"/>
                <a:gd name="connsiteX23" fmla="*/ 8355 w 9521"/>
                <a:gd name="connsiteY23" fmla="*/ 0 h 10000"/>
                <a:gd name="connsiteX24" fmla="*/ 8665 w 9521"/>
                <a:gd name="connsiteY24" fmla="*/ 1324 h 10000"/>
                <a:gd name="connsiteX25" fmla="*/ 9103 w 9521"/>
                <a:gd name="connsiteY25" fmla="*/ 2215 h 10000"/>
                <a:gd name="connsiteX26" fmla="*/ 9521 w 9521"/>
                <a:gd name="connsiteY26" fmla="*/ 411 h 10000"/>
                <a:gd name="connsiteX0" fmla="*/ 0 w 9561"/>
                <a:gd name="connsiteY0" fmla="*/ 8059 h 10000"/>
                <a:gd name="connsiteX1" fmla="*/ 373 w 9561"/>
                <a:gd name="connsiteY1" fmla="*/ 7009 h 10000"/>
                <a:gd name="connsiteX2" fmla="*/ 844 w 9561"/>
                <a:gd name="connsiteY2" fmla="*/ 6872 h 10000"/>
                <a:gd name="connsiteX3" fmla="*/ 1257 w 9561"/>
                <a:gd name="connsiteY3" fmla="*/ 8744 h 10000"/>
                <a:gd name="connsiteX4" fmla="*/ 1709 w 9561"/>
                <a:gd name="connsiteY4" fmla="*/ 10000 h 10000"/>
                <a:gd name="connsiteX5" fmla="*/ 1992 w 9561"/>
                <a:gd name="connsiteY5" fmla="*/ 9315 h 10000"/>
                <a:gd name="connsiteX6" fmla="*/ 2324 w 9561"/>
                <a:gd name="connsiteY6" fmla="*/ 7785 h 10000"/>
                <a:gd name="connsiteX7" fmla="*/ 2697 w 9561"/>
                <a:gd name="connsiteY7" fmla="*/ 8881 h 10000"/>
                <a:gd name="connsiteX8" fmla="*/ 3029 w 9561"/>
                <a:gd name="connsiteY8" fmla="*/ 7511 h 10000"/>
                <a:gd name="connsiteX9" fmla="*/ 3403 w 9561"/>
                <a:gd name="connsiteY9" fmla="*/ 7009 h 10000"/>
                <a:gd name="connsiteX10" fmla="*/ 3844 w 9561"/>
                <a:gd name="connsiteY10" fmla="*/ 5068 h 10000"/>
                <a:gd name="connsiteX11" fmla="*/ 4108 w 9561"/>
                <a:gd name="connsiteY11" fmla="*/ 6461 h 10000"/>
                <a:gd name="connsiteX12" fmla="*/ 4442 w 9561"/>
                <a:gd name="connsiteY12" fmla="*/ 3333 h 10000"/>
                <a:gd name="connsiteX13" fmla="*/ 5147 w 9561"/>
                <a:gd name="connsiteY13" fmla="*/ 3950 h 10000"/>
                <a:gd name="connsiteX14" fmla="*/ 5462 w 9561"/>
                <a:gd name="connsiteY14" fmla="*/ 3470 h 10000"/>
                <a:gd name="connsiteX15" fmla="*/ 5934 w 9561"/>
                <a:gd name="connsiteY15" fmla="*/ 4247 h 10000"/>
                <a:gd name="connsiteX16" fmla="*/ 6500 w 9561"/>
                <a:gd name="connsiteY16" fmla="*/ 5616 h 10000"/>
                <a:gd name="connsiteX17" fmla="*/ 6952 w 9561"/>
                <a:gd name="connsiteY17" fmla="*/ 5342 h 10000"/>
                <a:gd name="connsiteX18" fmla="*/ 7002 w 9561"/>
                <a:gd name="connsiteY18" fmla="*/ 3333 h 10000"/>
                <a:gd name="connsiteX19" fmla="*/ 7402 w 9561"/>
                <a:gd name="connsiteY19" fmla="*/ 3128 h 10000"/>
                <a:gd name="connsiteX20" fmla="*/ 7700 w 9561"/>
                <a:gd name="connsiteY20" fmla="*/ 3744 h 10000"/>
                <a:gd name="connsiteX21" fmla="*/ 8170 w 9561"/>
                <a:gd name="connsiteY21" fmla="*/ 1324 h 10000"/>
                <a:gd name="connsiteX22" fmla="*/ 8501 w 9561"/>
                <a:gd name="connsiteY22" fmla="*/ 1324 h 10000"/>
                <a:gd name="connsiteX23" fmla="*/ 8775 w 9561"/>
                <a:gd name="connsiteY23" fmla="*/ 0 h 10000"/>
                <a:gd name="connsiteX24" fmla="*/ 9101 w 9561"/>
                <a:gd name="connsiteY24" fmla="*/ 1324 h 10000"/>
                <a:gd name="connsiteX25" fmla="*/ 9561 w 9561"/>
                <a:gd name="connsiteY25" fmla="*/ 2215 h 10000"/>
                <a:gd name="connsiteX0" fmla="*/ 0 w 9519"/>
                <a:gd name="connsiteY0" fmla="*/ 8059 h 10000"/>
                <a:gd name="connsiteX1" fmla="*/ 390 w 9519"/>
                <a:gd name="connsiteY1" fmla="*/ 7009 h 10000"/>
                <a:gd name="connsiteX2" fmla="*/ 883 w 9519"/>
                <a:gd name="connsiteY2" fmla="*/ 6872 h 10000"/>
                <a:gd name="connsiteX3" fmla="*/ 1315 w 9519"/>
                <a:gd name="connsiteY3" fmla="*/ 8744 h 10000"/>
                <a:gd name="connsiteX4" fmla="*/ 1787 w 9519"/>
                <a:gd name="connsiteY4" fmla="*/ 10000 h 10000"/>
                <a:gd name="connsiteX5" fmla="*/ 2083 w 9519"/>
                <a:gd name="connsiteY5" fmla="*/ 9315 h 10000"/>
                <a:gd name="connsiteX6" fmla="*/ 2431 w 9519"/>
                <a:gd name="connsiteY6" fmla="*/ 7785 h 10000"/>
                <a:gd name="connsiteX7" fmla="*/ 2821 w 9519"/>
                <a:gd name="connsiteY7" fmla="*/ 8881 h 10000"/>
                <a:gd name="connsiteX8" fmla="*/ 3168 w 9519"/>
                <a:gd name="connsiteY8" fmla="*/ 7511 h 10000"/>
                <a:gd name="connsiteX9" fmla="*/ 3559 w 9519"/>
                <a:gd name="connsiteY9" fmla="*/ 7009 h 10000"/>
                <a:gd name="connsiteX10" fmla="*/ 4020 w 9519"/>
                <a:gd name="connsiteY10" fmla="*/ 5068 h 10000"/>
                <a:gd name="connsiteX11" fmla="*/ 4297 w 9519"/>
                <a:gd name="connsiteY11" fmla="*/ 6461 h 10000"/>
                <a:gd name="connsiteX12" fmla="*/ 4646 w 9519"/>
                <a:gd name="connsiteY12" fmla="*/ 3333 h 10000"/>
                <a:gd name="connsiteX13" fmla="*/ 5383 w 9519"/>
                <a:gd name="connsiteY13" fmla="*/ 3950 h 10000"/>
                <a:gd name="connsiteX14" fmla="*/ 5713 w 9519"/>
                <a:gd name="connsiteY14" fmla="*/ 3470 h 10000"/>
                <a:gd name="connsiteX15" fmla="*/ 6206 w 9519"/>
                <a:gd name="connsiteY15" fmla="*/ 4247 h 10000"/>
                <a:gd name="connsiteX16" fmla="*/ 6798 w 9519"/>
                <a:gd name="connsiteY16" fmla="*/ 5616 h 10000"/>
                <a:gd name="connsiteX17" fmla="*/ 7271 w 9519"/>
                <a:gd name="connsiteY17" fmla="*/ 5342 h 10000"/>
                <a:gd name="connsiteX18" fmla="*/ 7324 w 9519"/>
                <a:gd name="connsiteY18" fmla="*/ 3333 h 10000"/>
                <a:gd name="connsiteX19" fmla="*/ 7742 w 9519"/>
                <a:gd name="connsiteY19" fmla="*/ 3128 h 10000"/>
                <a:gd name="connsiteX20" fmla="*/ 8054 w 9519"/>
                <a:gd name="connsiteY20" fmla="*/ 3744 h 10000"/>
                <a:gd name="connsiteX21" fmla="*/ 8545 w 9519"/>
                <a:gd name="connsiteY21" fmla="*/ 1324 h 10000"/>
                <a:gd name="connsiteX22" fmla="*/ 8891 w 9519"/>
                <a:gd name="connsiteY22" fmla="*/ 1324 h 10000"/>
                <a:gd name="connsiteX23" fmla="*/ 9178 w 9519"/>
                <a:gd name="connsiteY23" fmla="*/ 0 h 10000"/>
                <a:gd name="connsiteX24" fmla="*/ 9519 w 9519"/>
                <a:gd name="connsiteY24" fmla="*/ 1324 h 10000"/>
                <a:gd name="connsiteX0" fmla="*/ 0 w 9642"/>
                <a:gd name="connsiteY0" fmla="*/ 8059 h 10000"/>
                <a:gd name="connsiteX1" fmla="*/ 410 w 9642"/>
                <a:gd name="connsiteY1" fmla="*/ 7009 h 10000"/>
                <a:gd name="connsiteX2" fmla="*/ 928 w 9642"/>
                <a:gd name="connsiteY2" fmla="*/ 6872 h 10000"/>
                <a:gd name="connsiteX3" fmla="*/ 1381 w 9642"/>
                <a:gd name="connsiteY3" fmla="*/ 8744 h 10000"/>
                <a:gd name="connsiteX4" fmla="*/ 1877 w 9642"/>
                <a:gd name="connsiteY4" fmla="*/ 10000 h 10000"/>
                <a:gd name="connsiteX5" fmla="*/ 2188 w 9642"/>
                <a:gd name="connsiteY5" fmla="*/ 9315 h 10000"/>
                <a:gd name="connsiteX6" fmla="*/ 2554 w 9642"/>
                <a:gd name="connsiteY6" fmla="*/ 7785 h 10000"/>
                <a:gd name="connsiteX7" fmla="*/ 2964 w 9642"/>
                <a:gd name="connsiteY7" fmla="*/ 8881 h 10000"/>
                <a:gd name="connsiteX8" fmla="*/ 3328 w 9642"/>
                <a:gd name="connsiteY8" fmla="*/ 7511 h 10000"/>
                <a:gd name="connsiteX9" fmla="*/ 3739 w 9642"/>
                <a:gd name="connsiteY9" fmla="*/ 7009 h 10000"/>
                <a:gd name="connsiteX10" fmla="*/ 4223 w 9642"/>
                <a:gd name="connsiteY10" fmla="*/ 5068 h 10000"/>
                <a:gd name="connsiteX11" fmla="*/ 4514 w 9642"/>
                <a:gd name="connsiteY11" fmla="*/ 6461 h 10000"/>
                <a:gd name="connsiteX12" fmla="*/ 4881 w 9642"/>
                <a:gd name="connsiteY12" fmla="*/ 3333 h 10000"/>
                <a:gd name="connsiteX13" fmla="*/ 5655 w 9642"/>
                <a:gd name="connsiteY13" fmla="*/ 3950 h 10000"/>
                <a:gd name="connsiteX14" fmla="*/ 6002 w 9642"/>
                <a:gd name="connsiteY14" fmla="*/ 3470 h 10000"/>
                <a:gd name="connsiteX15" fmla="*/ 6520 w 9642"/>
                <a:gd name="connsiteY15" fmla="*/ 4247 h 10000"/>
                <a:gd name="connsiteX16" fmla="*/ 7142 w 9642"/>
                <a:gd name="connsiteY16" fmla="*/ 5616 h 10000"/>
                <a:gd name="connsiteX17" fmla="*/ 7638 w 9642"/>
                <a:gd name="connsiteY17" fmla="*/ 5342 h 10000"/>
                <a:gd name="connsiteX18" fmla="*/ 7694 w 9642"/>
                <a:gd name="connsiteY18" fmla="*/ 3333 h 10000"/>
                <a:gd name="connsiteX19" fmla="*/ 8133 w 9642"/>
                <a:gd name="connsiteY19" fmla="*/ 3128 h 10000"/>
                <a:gd name="connsiteX20" fmla="*/ 8461 w 9642"/>
                <a:gd name="connsiteY20" fmla="*/ 3744 h 10000"/>
                <a:gd name="connsiteX21" fmla="*/ 8977 w 9642"/>
                <a:gd name="connsiteY21" fmla="*/ 1324 h 10000"/>
                <a:gd name="connsiteX22" fmla="*/ 9340 w 9642"/>
                <a:gd name="connsiteY22" fmla="*/ 1324 h 10000"/>
                <a:gd name="connsiteX23" fmla="*/ 9642 w 9642"/>
                <a:gd name="connsiteY23" fmla="*/ 0 h 10000"/>
                <a:gd name="connsiteX0" fmla="*/ 0 w 9687"/>
                <a:gd name="connsiteY0" fmla="*/ 6735 h 8676"/>
                <a:gd name="connsiteX1" fmla="*/ 425 w 9687"/>
                <a:gd name="connsiteY1" fmla="*/ 5685 h 8676"/>
                <a:gd name="connsiteX2" fmla="*/ 962 w 9687"/>
                <a:gd name="connsiteY2" fmla="*/ 5548 h 8676"/>
                <a:gd name="connsiteX3" fmla="*/ 1432 w 9687"/>
                <a:gd name="connsiteY3" fmla="*/ 7420 h 8676"/>
                <a:gd name="connsiteX4" fmla="*/ 1947 w 9687"/>
                <a:gd name="connsiteY4" fmla="*/ 8676 h 8676"/>
                <a:gd name="connsiteX5" fmla="*/ 2269 w 9687"/>
                <a:gd name="connsiteY5" fmla="*/ 7991 h 8676"/>
                <a:gd name="connsiteX6" fmla="*/ 2649 w 9687"/>
                <a:gd name="connsiteY6" fmla="*/ 6461 h 8676"/>
                <a:gd name="connsiteX7" fmla="*/ 3074 w 9687"/>
                <a:gd name="connsiteY7" fmla="*/ 7557 h 8676"/>
                <a:gd name="connsiteX8" fmla="*/ 3452 w 9687"/>
                <a:gd name="connsiteY8" fmla="*/ 6187 h 8676"/>
                <a:gd name="connsiteX9" fmla="*/ 3878 w 9687"/>
                <a:gd name="connsiteY9" fmla="*/ 5685 h 8676"/>
                <a:gd name="connsiteX10" fmla="*/ 4380 w 9687"/>
                <a:gd name="connsiteY10" fmla="*/ 3744 h 8676"/>
                <a:gd name="connsiteX11" fmla="*/ 4682 w 9687"/>
                <a:gd name="connsiteY11" fmla="*/ 5137 h 8676"/>
                <a:gd name="connsiteX12" fmla="*/ 5062 w 9687"/>
                <a:gd name="connsiteY12" fmla="*/ 2009 h 8676"/>
                <a:gd name="connsiteX13" fmla="*/ 5865 w 9687"/>
                <a:gd name="connsiteY13" fmla="*/ 2626 h 8676"/>
                <a:gd name="connsiteX14" fmla="*/ 6225 w 9687"/>
                <a:gd name="connsiteY14" fmla="*/ 2146 h 8676"/>
                <a:gd name="connsiteX15" fmla="*/ 6762 w 9687"/>
                <a:gd name="connsiteY15" fmla="*/ 2923 h 8676"/>
                <a:gd name="connsiteX16" fmla="*/ 7407 w 9687"/>
                <a:gd name="connsiteY16" fmla="*/ 4292 h 8676"/>
                <a:gd name="connsiteX17" fmla="*/ 7922 w 9687"/>
                <a:gd name="connsiteY17" fmla="*/ 4018 h 8676"/>
                <a:gd name="connsiteX18" fmla="*/ 7980 w 9687"/>
                <a:gd name="connsiteY18" fmla="*/ 2009 h 8676"/>
                <a:gd name="connsiteX19" fmla="*/ 8435 w 9687"/>
                <a:gd name="connsiteY19" fmla="*/ 1804 h 8676"/>
                <a:gd name="connsiteX20" fmla="*/ 8775 w 9687"/>
                <a:gd name="connsiteY20" fmla="*/ 2420 h 8676"/>
                <a:gd name="connsiteX21" fmla="*/ 9310 w 9687"/>
                <a:gd name="connsiteY21" fmla="*/ 0 h 8676"/>
                <a:gd name="connsiteX22" fmla="*/ 9687 w 9687"/>
                <a:gd name="connsiteY22" fmla="*/ 0 h 8676"/>
                <a:gd name="connsiteX0" fmla="*/ 0 w 9611"/>
                <a:gd name="connsiteY0" fmla="*/ 7763 h 10000"/>
                <a:gd name="connsiteX1" fmla="*/ 439 w 9611"/>
                <a:gd name="connsiteY1" fmla="*/ 6553 h 10000"/>
                <a:gd name="connsiteX2" fmla="*/ 993 w 9611"/>
                <a:gd name="connsiteY2" fmla="*/ 6395 h 10000"/>
                <a:gd name="connsiteX3" fmla="*/ 1478 w 9611"/>
                <a:gd name="connsiteY3" fmla="*/ 8552 h 10000"/>
                <a:gd name="connsiteX4" fmla="*/ 2010 w 9611"/>
                <a:gd name="connsiteY4" fmla="*/ 10000 h 10000"/>
                <a:gd name="connsiteX5" fmla="*/ 2342 w 9611"/>
                <a:gd name="connsiteY5" fmla="*/ 9210 h 10000"/>
                <a:gd name="connsiteX6" fmla="*/ 2735 w 9611"/>
                <a:gd name="connsiteY6" fmla="*/ 7447 h 10000"/>
                <a:gd name="connsiteX7" fmla="*/ 3173 w 9611"/>
                <a:gd name="connsiteY7" fmla="*/ 8710 h 10000"/>
                <a:gd name="connsiteX8" fmla="*/ 3564 w 9611"/>
                <a:gd name="connsiteY8" fmla="*/ 7131 h 10000"/>
                <a:gd name="connsiteX9" fmla="*/ 4003 w 9611"/>
                <a:gd name="connsiteY9" fmla="*/ 6553 h 10000"/>
                <a:gd name="connsiteX10" fmla="*/ 4522 w 9611"/>
                <a:gd name="connsiteY10" fmla="*/ 4315 h 10000"/>
                <a:gd name="connsiteX11" fmla="*/ 4833 w 9611"/>
                <a:gd name="connsiteY11" fmla="*/ 5921 h 10000"/>
                <a:gd name="connsiteX12" fmla="*/ 5226 w 9611"/>
                <a:gd name="connsiteY12" fmla="*/ 2316 h 10000"/>
                <a:gd name="connsiteX13" fmla="*/ 6055 w 9611"/>
                <a:gd name="connsiteY13" fmla="*/ 3027 h 10000"/>
                <a:gd name="connsiteX14" fmla="*/ 6426 w 9611"/>
                <a:gd name="connsiteY14" fmla="*/ 2473 h 10000"/>
                <a:gd name="connsiteX15" fmla="*/ 6980 w 9611"/>
                <a:gd name="connsiteY15" fmla="*/ 3369 h 10000"/>
                <a:gd name="connsiteX16" fmla="*/ 7646 w 9611"/>
                <a:gd name="connsiteY16" fmla="*/ 4947 h 10000"/>
                <a:gd name="connsiteX17" fmla="*/ 8178 w 9611"/>
                <a:gd name="connsiteY17" fmla="*/ 4631 h 10000"/>
                <a:gd name="connsiteX18" fmla="*/ 8238 w 9611"/>
                <a:gd name="connsiteY18" fmla="*/ 2316 h 10000"/>
                <a:gd name="connsiteX19" fmla="*/ 8708 w 9611"/>
                <a:gd name="connsiteY19" fmla="*/ 2079 h 10000"/>
                <a:gd name="connsiteX20" fmla="*/ 9059 w 9611"/>
                <a:gd name="connsiteY20" fmla="*/ 2789 h 10000"/>
                <a:gd name="connsiteX21" fmla="*/ 9611 w 9611"/>
                <a:gd name="connsiteY21" fmla="*/ 0 h 10000"/>
                <a:gd name="connsiteX0" fmla="*/ 0 w 9426"/>
                <a:gd name="connsiteY0" fmla="*/ 5684 h 7921"/>
                <a:gd name="connsiteX1" fmla="*/ 457 w 9426"/>
                <a:gd name="connsiteY1" fmla="*/ 4474 h 7921"/>
                <a:gd name="connsiteX2" fmla="*/ 1033 w 9426"/>
                <a:gd name="connsiteY2" fmla="*/ 4316 h 7921"/>
                <a:gd name="connsiteX3" fmla="*/ 1538 w 9426"/>
                <a:gd name="connsiteY3" fmla="*/ 6473 h 7921"/>
                <a:gd name="connsiteX4" fmla="*/ 2091 w 9426"/>
                <a:gd name="connsiteY4" fmla="*/ 7921 h 7921"/>
                <a:gd name="connsiteX5" fmla="*/ 2437 w 9426"/>
                <a:gd name="connsiteY5" fmla="*/ 7131 h 7921"/>
                <a:gd name="connsiteX6" fmla="*/ 2846 w 9426"/>
                <a:gd name="connsiteY6" fmla="*/ 5368 h 7921"/>
                <a:gd name="connsiteX7" fmla="*/ 3301 w 9426"/>
                <a:gd name="connsiteY7" fmla="*/ 6631 h 7921"/>
                <a:gd name="connsiteX8" fmla="*/ 3708 w 9426"/>
                <a:gd name="connsiteY8" fmla="*/ 5052 h 7921"/>
                <a:gd name="connsiteX9" fmla="*/ 4165 w 9426"/>
                <a:gd name="connsiteY9" fmla="*/ 4474 h 7921"/>
                <a:gd name="connsiteX10" fmla="*/ 4705 w 9426"/>
                <a:gd name="connsiteY10" fmla="*/ 2236 h 7921"/>
                <a:gd name="connsiteX11" fmla="*/ 5029 w 9426"/>
                <a:gd name="connsiteY11" fmla="*/ 3842 h 7921"/>
                <a:gd name="connsiteX12" fmla="*/ 5438 w 9426"/>
                <a:gd name="connsiteY12" fmla="*/ 237 h 7921"/>
                <a:gd name="connsiteX13" fmla="*/ 6300 w 9426"/>
                <a:gd name="connsiteY13" fmla="*/ 948 h 7921"/>
                <a:gd name="connsiteX14" fmla="*/ 6686 w 9426"/>
                <a:gd name="connsiteY14" fmla="*/ 394 h 7921"/>
                <a:gd name="connsiteX15" fmla="*/ 7263 w 9426"/>
                <a:gd name="connsiteY15" fmla="*/ 1290 h 7921"/>
                <a:gd name="connsiteX16" fmla="*/ 7955 w 9426"/>
                <a:gd name="connsiteY16" fmla="*/ 2868 h 7921"/>
                <a:gd name="connsiteX17" fmla="*/ 8509 w 9426"/>
                <a:gd name="connsiteY17" fmla="*/ 2552 h 7921"/>
                <a:gd name="connsiteX18" fmla="*/ 8571 w 9426"/>
                <a:gd name="connsiteY18" fmla="*/ 237 h 7921"/>
                <a:gd name="connsiteX19" fmla="*/ 9060 w 9426"/>
                <a:gd name="connsiteY19" fmla="*/ 0 h 7921"/>
                <a:gd name="connsiteX20" fmla="*/ 9426 w 9426"/>
                <a:gd name="connsiteY20" fmla="*/ 710 h 7921"/>
                <a:gd name="connsiteX0" fmla="*/ 0 w 9612"/>
                <a:gd name="connsiteY0" fmla="*/ 7176 h 10000"/>
                <a:gd name="connsiteX1" fmla="*/ 485 w 9612"/>
                <a:gd name="connsiteY1" fmla="*/ 5648 h 10000"/>
                <a:gd name="connsiteX2" fmla="*/ 1096 w 9612"/>
                <a:gd name="connsiteY2" fmla="*/ 5449 h 10000"/>
                <a:gd name="connsiteX3" fmla="*/ 1632 w 9612"/>
                <a:gd name="connsiteY3" fmla="*/ 8172 h 10000"/>
                <a:gd name="connsiteX4" fmla="*/ 2218 w 9612"/>
                <a:gd name="connsiteY4" fmla="*/ 10000 h 10000"/>
                <a:gd name="connsiteX5" fmla="*/ 2585 w 9612"/>
                <a:gd name="connsiteY5" fmla="*/ 9003 h 10000"/>
                <a:gd name="connsiteX6" fmla="*/ 3019 w 9612"/>
                <a:gd name="connsiteY6" fmla="*/ 6777 h 10000"/>
                <a:gd name="connsiteX7" fmla="*/ 3502 w 9612"/>
                <a:gd name="connsiteY7" fmla="*/ 8371 h 10000"/>
                <a:gd name="connsiteX8" fmla="*/ 3934 w 9612"/>
                <a:gd name="connsiteY8" fmla="*/ 6378 h 10000"/>
                <a:gd name="connsiteX9" fmla="*/ 4419 w 9612"/>
                <a:gd name="connsiteY9" fmla="*/ 5648 h 10000"/>
                <a:gd name="connsiteX10" fmla="*/ 4992 w 9612"/>
                <a:gd name="connsiteY10" fmla="*/ 2823 h 10000"/>
                <a:gd name="connsiteX11" fmla="*/ 5335 w 9612"/>
                <a:gd name="connsiteY11" fmla="*/ 4850 h 10000"/>
                <a:gd name="connsiteX12" fmla="*/ 5769 w 9612"/>
                <a:gd name="connsiteY12" fmla="*/ 299 h 10000"/>
                <a:gd name="connsiteX13" fmla="*/ 6684 w 9612"/>
                <a:gd name="connsiteY13" fmla="*/ 1197 h 10000"/>
                <a:gd name="connsiteX14" fmla="*/ 7093 w 9612"/>
                <a:gd name="connsiteY14" fmla="*/ 497 h 10000"/>
                <a:gd name="connsiteX15" fmla="*/ 7705 w 9612"/>
                <a:gd name="connsiteY15" fmla="*/ 1629 h 10000"/>
                <a:gd name="connsiteX16" fmla="*/ 8439 w 9612"/>
                <a:gd name="connsiteY16" fmla="*/ 3621 h 10000"/>
                <a:gd name="connsiteX17" fmla="*/ 9027 w 9612"/>
                <a:gd name="connsiteY17" fmla="*/ 3222 h 10000"/>
                <a:gd name="connsiteX18" fmla="*/ 9093 w 9612"/>
                <a:gd name="connsiteY18" fmla="*/ 299 h 10000"/>
                <a:gd name="connsiteX19" fmla="*/ 9612 w 9612"/>
                <a:gd name="connsiteY19" fmla="*/ 0 h 10000"/>
                <a:gd name="connsiteX0" fmla="*/ 0 w 9460"/>
                <a:gd name="connsiteY0" fmla="*/ 6877 h 9701"/>
                <a:gd name="connsiteX1" fmla="*/ 505 w 9460"/>
                <a:gd name="connsiteY1" fmla="*/ 5349 h 9701"/>
                <a:gd name="connsiteX2" fmla="*/ 1140 w 9460"/>
                <a:gd name="connsiteY2" fmla="*/ 5150 h 9701"/>
                <a:gd name="connsiteX3" fmla="*/ 1698 w 9460"/>
                <a:gd name="connsiteY3" fmla="*/ 7873 h 9701"/>
                <a:gd name="connsiteX4" fmla="*/ 2308 w 9460"/>
                <a:gd name="connsiteY4" fmla="*/ 9701 h 9701"/>
                <a:gd name="connsiteX5" fmla="*/ 2689 w 9460"/>
                <a:gd name="connsiteY5" fmla="*/ 8704 h 9701"/>
                <a:gd name="connsiteX6" fmla="*/ 3141 w 9460"/>
                <a:gd name="connsiteY6" fmla="*/ 6478 h 9701"/>
                <a:gd name="connsiteX7" fmla="*/ 3643 w 9460"/>
                <a:gd name="connsiteY7" fmla="*/ 8072 h 9701"/>
                <a:gd name="connsiteX8" fmla="*/ 4093 w 9460"/>
                <a:gd name="connsiteY8" fmla="*/ 6079 h 9701"/>
                <a:gd name="connsiteX9" fmla="*/ 4597 w 9460"/>
                <a:gd name="connsiteY9" fmla="*/ 5349 h 9701"/>
                <a:gd name="connsiteX10" fmla="*/ 5194 w 9460"/>
                <a:gd name="connsiteY10" fmla="*/ 2524 h 9701"/>
                <a:gd name="connsiteX11" fmla="*/ 5550 w 9460"/>
                <a:gd name="connsiteY11" fmla="*/ 4551 h 9701"/>
                <a:gd name="connsiteX12" fmla="*/ 6002 w 9460"/>
                <a:gd name="connsiteY12" fmla="*/ 0 h 9701"/>
                <a:gd name="connsiteX13" fmla="*/ 6954 w 9460"/>
                <a:gd name="connsiteY13" fmla="*/ 898 h 9701"/>
                <a:gd name="connsiteX14" fmla="*/ 7379 w 9460"/>
                <a:gd name="connsiteY14" fmla="*/ 198 h 9701"/>
                <a:gd name="connsiteX15" fmla="*/ 8016 w 9460"/>
                <a:gd name="connsiteY15" fmla="*/ 1330 h 9701"/>
                <a:gd name="connsiteX16" fmla="*/ 8780 w 9460"/>
                <a:gd name="connsiteY16" fmla="*/ 3322 h 9701"/>
                <a:gd name="connsiteX17" fmla="*/ 9391 w 9460"/>
                <a:gd name="connsiteY17" fmla="*/ 2923 h 9701"/>
                <a:gd name="connsiteX18" fmla="*/ 9460 w 9460"/>
                <a:gd name="connsiteY18" fmla="*/ 0 h 9701"/>
                <a:gd name="connsiteX0" fmla="*/ 0 w 9927"/>
                <a:gd name="connsiteY0" fmla="*/ 7089 h 10000"/>
                <a:gd name="connsiteX1" fmla="*/ 534 w 9927"/>
                <a:gd name="connsiteY1" fmla="*/ 5514 h 10000"/>
                <a:gd name="connsiteX2" fmla="*/ 1205 w 9927"/>
                <a:gd name="connsiteY2" fmla="*/ 5309 h 10000"/>
                <a:gd name="connsiteX3" fmla="*/ 1795 w 9927"/>
                <a:gd name="connsiteY3" fmla="*/ 8116 h 10000"/>
                <a:gd name="connsiteX4" fmla="*/ 2440 w 9927"/>
                <a:gd name="connsiteY4" fmla="*/ 10000 h 10000"/>
                <a:gd name="connsiteX5" fmla="*/ 2842 w 9927"/>
                <a:gd name="connsiteY5" fmla="*/ 8972 h 10000"/>
                <a:gd name="connsiteX6" fmla="*/ 3320 w 9927"/>
                <a:gd name="connsiteY6" fmla="*/ 6678 h 10000"/>
                <a:gd name="connsiteX7" fmla="*/ 3851 w 9927"/>
                <a:gd name="connsiteY7" fmla="*/ 8321 h 10000"/>
                <a:gd name="connsiteX8" fmla="*/ 4327 w 9927"/>
                <a:gd name="connsiteY8" fmla="*/ 6266 h 10000"/>
                <a:gd name="connsiteX9" fmla="*/ 4859 w 9927"/>
                <a:gd name="connsiteY9" fmla="*/ 5514 h 10000"/>
                <a:gd name="connsiteX10" fmla="*/ 5490 w 9927"/>
                <a:gd name="connsiteY10" fmla="*/ 2602 h 10000"/>
                <a:gd name="connsiteX11" fmla="*/ 5867 w 9927"/>
                <a:gd name="connsiteY11" fmla="*/ 4691 h 10000"/>
                <a:gd name="connsiteX12" fmla="*/ 6345 w 9927"/>
                <a:gd name="connsiteY12" fmla="*/ 0 h 10000"/>
                <a:gd name="connsiteX13" fmla="*/ 7351 w 9927"/>
                <a:gd name="connsiteY13" fmla="*/ 926 h 10000"/>
                <a:gd name="connsiteX14" fmla="*/ 7800 w 9927"/>
                <a:gd name="connsiteY14" fmla="*/ 204 h 10000"/>
                <a:gd name="connsiteX15" fmla="*/ 8474 w 9927"/>
                <a:gd name="connsiteY15" fmla="*/ 1371 h 10000"/>
                <a:gd name="connsiteX16" fmla="*/ 9281 w 9927"/>
                <a:gd name="connsiteY16" fmla="*/ 3424 h 10000"/>
                <a:gd name="connsiteX17" fmla="*/ 9927 w 9927"/>
                <a:gd name="connsiteY17" fmla="*/ 3013 h 10000"/>
                <a:gd name="connsiteX0" fmla="*/ 0 w 9349"/>
                <a:gd name="connsiteY0" fmla="*/ 7089 h 10000"/>
                <a:gd name="connsiteX1" fmla="*/ 538 w 9349"/>
                <a:gd name="connsiteY1" fmla="*/ 5514 h 10000"/>
                <a:gd name="connsiteX2" fmla="*/ 1214 w 9349"/>
                <a:gd name="connsiteY2" fmla="*/ 5309 h 10000"/>
                <a:gd name="connsiteX3" fmla="*/ 1808 w 9349"/>
                <a:gd name="connsiteY3" fmla="*/ 8116 h 10000"/>
                <a:gd name="connsiteX4" fmla="*/ 2458 w 9349"/>
                <a:gd name="connsiteY4" fmla="*/ 10000 h 10000"/>
                <a:gd name="connsiteX5" fmla="*/ 2863 w 9349"/>
                <a:gd name="connsiteY5" fmla="*/ 8972 h 10000"/>
                <a:gd name="connsiteX6" fmla="*/ 3344 w 9349"/>
                <a:gd name="connsiteY6" fmla="*/ 6678 h 10000"/>
                <a:gd name="connsiteX7" fmla="*/ 3879 w 9349"/>
                <a:gd name="connsiteY7" fmla="*/ 8321 h 10000"/>
                <a:gd name="connsiteX8" fmla="*/ 4359 w 9349"/>
                <a:gd name="connsiteY8" fmla="*/ 6266 h 10000"/>
                <a:gd name="connsiteX9" fmla="*/ 4895 w 9349"/>
                <a:gd name="connsiteY9" fmla="*/ 5514 h 10000"/>
                <a:gd name="connsiteX10" fmla="*/ 5530 w 9349"/>
                <a:gd name="connsiteY10" fmla="*/ 2602 h 10000"/>
                <a:gd name="connsiteX11" fmla="*/ 5910 w 9349"/>
                <a:gd name="connsiteY11" fmla="*/ 4691 h 10000"/>
                <a:gd name="connsiteX12" fmla="*/ 6392 w 9349"/>
                <a:gd name="connsiteY12" fmla="*/ 0 h 10000"/>
                <a:gd name="connsiteX13" fmla="*/ 7405 w 9349"/>
                <a:gd name="connsiteY13" fmla="*/ 926 h 10000"/>
                <a:gd name="connsiteX14" fmla="*/ 7857 w 9349"/>
                <a:gd name="connsiteY14" fmla="*/ 204 h 10000"/>
                <a:gd name="connsiteX15" fmla="*/ 8536 w 9349"/>
                <a:gd name="connsiteY15" fmla="*/ 1371 h 10000"/>
                <a:gd name="connsiteX16" fmla="*/ 9349 w 9349"/>
                <a:gd name="connsiteY16" fmla="*/ 3424 h 10000"/>
                <a:gd name="connsiteX0" fmla="*/ 0 w 9130"/>
                <a:gd name="connsiteY0" fmla="*/ 7089 h 10000"/>
                <a:gd name="connsiteX1" fmla="*/ 575 w 9130"/>
                <a:gd name="connsiteY1" fmla="*/ 5514 h 10000"/>
                <a:gd name="connsiteX2" fmla="*/ 1299 w 9130"/>
                <a:gd name="connsiteY2" fmla="*/ 5309 h 10000"/>
                <a:gd name="connsiteX3" fmla="*/ 1934 w 9130"/>
                <a:gd name="connsiteY3" fmla="*/ 8116 h 10000"/>
                <a:gd name="connsiteX4" fmla="*/ 2629 w 9130"/>
                <a:gd name="connsiteY4" fmla="*/ 10000 h 10000"/>
                <a:gd name="connsiteX5" fmla="*/ 3062 w 9130"/>
                <a:gd name="connsiteY5" fmla="*/ 8972 h 10000"/>
                <a:gd name="connsiteX6" fmla="*/ 3577 w 9130"/>
                <a:gd name="connsiteY6" fmla="*/ 6678 h 10000"/>
                <a:gd name="connsiteX7" fmla="*/ 4149 w 9130"/>
                <a:gd name="connsiteY7" fmla="*/ 8321 h 10000"/>
                <a:gd name="connsiteX8" fmla="*/ 4663 w 9130"/>
                <a:gd name="connsiteY8" fmla="*/ 6266 h 10000"/>
                <a:gd name="connsiteX9" fmla="*/ 5236 w 9130"/>
                <a:gd name="connsiteY9" fmla="*/ 5514 h 10000"/>
                <a:gd name="connsiteX10" fmla="*/ 5915 w 9130"/>
                <a:gd name="connsiteY10" fmla="*/ 2602 h 10000"/>
                <a:gd name="connsiteX11" fmla="*/ 6322 w 9130"/>
                <a:gd name="connsiteY11" fmla="*/ 4691 h 10000"/>
                <a:gd name="connsiteX12" fmla="*/ 6837 w 9130"/>
                <a:gd name="connsiteY12" fmla="*/ 0 h 10000"/>
                <a:gd name="connsiteX13" fmla="*/ 7921 w 9130"/>
                <a:gd name="connsiteY13" fmla="*/ 926 h 10000"/>
                <a:gd name="connsiteX14" fmla="*/ 8404 w 9130"/>
                <a:gd name="connsiteY14" fmla="*/ 204 h 10000"/>
                <a:gd name="connsiteX15" fmla="*/ 9130 w 9130"/>
                <a:gd name="connsiteY15" fmla="*/ 1371 h 10000"/>
                <a:gd name="connsiteX0" fmla="*/ 0 w 9205"/>
                <a:gd name="connsiteY0" fmla="*/ 7089 h 10000"/>
                <a:gd name="connsiteX1" fmla="*/ 630 w 9205"/>
                <a:gd name="connsiteY1" fmla="*/ 5514 h 10000"/>
                <a:gd name="connsiteX2" fmla="*/ 1423 w 9205"/>
                <a:gd name="connsiteY2" fmla="*/ 5309 h 10000"/>
                <a:gd name="connsiteX3" fmla="*/ 2118 w 9205"/>
                <a:gd name="connsiteY3" fmla="*/ 8116 h 10000"/>
                <a:gd name="connsiteX4" fmla="*/ 2880 w 9205"/>
                <a:gd name="connsiteY4" fmla="*/ 10000 h 10000"/>
                <a:gd name="connsiteX5" fmla="*/ 3354 w 9205"/>
                <a:gd name="connsiteY5" fmla="*/ 8972 h 10000"/>
                <a:gd name="connsiteX6" fmla="*/ 3918 w 9205"/>
                <a:gd name="connsiteY6" fmla="*/ 6678 h 10000"/>
                <a:gd name="connsiteX7" fmla="*/ 4544 w 9205"/>
                <a:gd name="connsiteY7" fmla="*/ 8321 h 10000"/>
                <a:gd name="connsiteX8" fmla="*/ 5107 w 9205"/>
                <a:gd name="connsiteY8" fmla="*/ 6266 h 10000"/>
                <a:gd name="connsiteX9" fmla="*/ 5735 w 9205"/>
                <a:gd name="connsiteY9" fmla="*/ 5514 h 10000"/>
                <a:gd name="connsiteX10" fmla="*/ 6479 w 9205"/>
                <a:gd name="connsiteY10" fmla="*/ 2602 h 10000"/>
                <a:gd name="connsiteX11" fmla="*/ 6924 w 9205"/>
                <a:gd name="connsiteY11" fmla="*/ 4691 h 10000"/>
                <a:gd name="connsiteX12" fmla="*/ 7488 w 9205"/>
                <a:gd name="connsiteY12" fmla="*/ 0 h 10000"/>
                <a:gd name="connsiteX13" fmla="*/ 8676 w 9205"/>
                <a:gd name="connsiteY13" fmla="*/ 926 h 10000"/>
                <a:gd name="connsiteX14" fmla="*/ 9205 w 9205"/>
                <a:gd name="connsiteY14" fmla="*/ 204 h 10000"/>
                <a:gd name="connsiteX0" fmla="*/ 0 w 9425"/>
                <a:gd name="connsiteY0" fmla="*/ 7089 h 10000"/>
                <a:gd name="connsiteX1" fmla="*/ 684 w 9425"/>
                <a:gd name="connsiteY1" fmla="*/ 5514 h 10000"/>
                <a:gd name="connsiteX2" fmla="*/ 1546 w 9425"/>
                <a:gd name="connsiteY2" fmla="*/ 5309 h 10000"/>
                <a:gd name="connsiteX3" fmla="*/ 2301 w 9425"/>
                <a:gd name="connsiteY3" fmla="*/ 8116 h 10000"/>
                <a:gd name="connsiteX4" fmla="*/ 3129 w 9425"/>
                <a:gd name="connsiteY4" fmla="*/ 10000 h 10000"/>
                <a:gd name="connsiteX5" fmla="*/ 3644 w 9425"/>
                <a:gd name="connsiteY5" fmla="*/ 8972 h 10000"/>
                <a:gd name="connsiteX6" fmla="*/ 4256 w 9425"/>
                <a:gd name="connsiteY6" fmla="*/ 6678 h 10000"/>
                <a:gd name="connsiteX7" fmla="*/ 4936 w 9425"/>
                <a:gd name="connsiteY7" fmla="*/ 8321 h 10000"/>
                <a:gd name="connsiteX8" fmla="*/ 5548 w 9425"/>
                <a:gd name="connsiteY8" fmla="*/ 6266 h 10000"/>
                <a:gd name="connsiteX9" fmla="*/ 6230 w 9425"/>
                <a:gd name="connsiteY9" fmla="*/ 5514 h 10000"/>
                <a:gd name="connsiteX10" fmla="*/ 7039 w 9425"/>
                <a:gd name="connsiteY10" fmla="*/ 2602 h 10000"/>
                <a:gd name="connsiteX11" fmla="*/ 7522 w 9425"/>
                <a:gd name="connsiteY11" fmla="*/ 4691 h 10000"/>
                <a:gd name="connsiteX12" fmla="*/ 8135 w 9425"/>
                <a:gd name="connsiteY12" fmla="*/ 0 h 10000"/>
                <a:gd name="connsiteX13" fmla="*/ 9425 w 9425"/>
                <a:gd name="connsiteY13" fmla="*/ 926 h 10000"/>
                <a:gd name="connsiteX0" fmla="*/ 0 w 8631"/>
                <a:gd name="connsiteY0" fmla="*/ 7089 h 10000"/>
                <a:gd name="connsiteX1" fmla="*/ 726 w 8631"/>
                <a:gd name="connsiteY1" fmla="*/ 5514 h 10000"/>
                <a:gd name="connsiteX2" fmla="*/ 1640 w 8631"/>
                <a:gd name="connsiteY2" fmla="*/ 5309 h 10000"/>
                <a:gd name="connsiteX3" fmla="*/ 2441 w 8631"/>
                <a:gd name="connsiteY3" fmla="*/ 8116 h 10000"/>
                <a:gd name="connsiteX4" fmla="*/ 3320 w 8631"/>
                <a:gd name="connsiteY4" fmla="*/ 10000 h 10000"/>
                <a:gd name="connsiteX5" fmla="*/ 3866 w 8631"/>
                <a:gd name="connsiteY5" fmla="*/ 8972 h 10000"/>
                <a:gd name="connsiteX6" fmla="*/ 4516 w 8631"/>
                <a:gd name="connsiteY6" fmla="*/ 6678 h 10000"/>
                <a:gd name="connsiteX7" fmla="*/ 5237 w 8631"/>
                <a:gd name="connsiteY7" fmla="*/ 8321 h 10000"/>
                <a:gd name="connsiteX8" fmla="*/ 5886 w 8631"/>
                <a:gd name="connsiteY8" fmla="*/ 6266 h 10000"/>
                <a:gd name="connsiteX9" fmla="*/ 6610 w 8631"/>
                <a:gd name="connsiteY9" fmla="*/ 5514 h 10000"/>
                <a:gd name="connsiteX10" fmla="*/ 7468 w 8631"/>
                <a:gd name="connsiteY10" fmla="*/ 2602 h 10000"/>
                <a:gd name="connsiteX11" fmla="*/ 7981 w 8631"/>
                <a:gd name="connsiteY11" fmla="*/ 4691 h 10000"/>
                <a:gd name="connsiteX12" fmla="*/ 8631 w 8631"/>
                <a:gd name="connsiteY12" fmla="*/ 0 h 10000"/>
                <a:gd name="connsiteX0" fmla="*/ 0 w 9247"/>
                <a:gd name="connsiteY0" fmla="*/ 4487 h 7398"/>
                <a:gd name="connsiteX1" fmla="*/ 841 w 9247"/>
                <a:gd name="connsiteY1" fmla="*/ 2912 h 7398"/>
                <a:gd name="connsiteX2" fmla="*/ 1900 w 9247"/>
                <a:gd name="connsiteY2" fmla="*/ 2707 h 7398"/>
                <a:gd name="connsiteX3" fmla="*/ 2828 w 9247"/>
                <a:gd name="connsiteY3" fmla="*/ 5514 h 7398"/>
                <a:gd name="connsiteX4" fmla="*/ 3847 w 9247"/>
                <a:gd name="connsiteY4" fmla="*/ 7398 h 7398"/>
                <a:gd name="connsiteX5" fmla="*/ 4479 w 9247"/>
                <a:gd name="connsiteY5" fmla="*/ 6370 h 7398"/>
                <a:gd name="connsiteX6" fmla="*/ 5232 w 9247"/>
                <a:gd name="connsiteY6" fmla="*/ 4076 h 7398"/>
                <a:gd name="connsiteX7" fmla="*/ 6068 w 9247"/>
                <a:gd name="connsiteY7" fmla="*/ 5719 h 7398"/>
                <a:gd name="connsiteX8" fmla="*/ 6820 w 9247"/>
                <a:gd name="connsiteY8" fmla="*/ 3664 h 7398"/>
                <a:gd name="connsiteX9" fmla="*/ 7658 w 9247"/>
                <a:gd name="connsiteY9" fmla="*/ 2912 h 7398"/>
                <a:gd name="connsiteX10" fmla="*/ 8653 w 9247"/>
                <a:gd name="connsiteY10" fmla="*/ 0 h 7398"/>
                <a:gd name="connsiteX11" fmla="*/ 9247 w 9247"/>
                <a:gd name="connsiteY11" fmla="*/ 2089 h 7398"/>
                <a:gd name="connsiteX0" fmla="*/ 0 w 9358"/>
                <a:gd name="connsiteY0" fmla="*/ 6065 h 10000"/>
                <a:gd name="connsiteX1" fmla="*/ 909 w 9358"/>
                <a:gd name="connsiteY1" fmla="*/ 3936 h 10000"/>
                <a:gd name="connsiteX2" fmla="*/ 2055 w 9358"/>
                <a:gd name="connsiteY2" fmla="*/ 3659 h 10000"/>
                <a:gd name="connsiteX3" fmla="*/ 3058 w 9358"/>
                <a:gd name="connsiteY3" fmla="*/ 7453 h 10000"/>
                <a:gd name="connsiteX4" fmla="*/ 4160 w 9358"/>
                <a:gd name="connsiteY4" fmla="*/ 10000 h 10000"/>
                <a:gd name="connsiteX5" fmla="*/ 4844 w 9358"/>
                <a:gd name="connsiteY5" fmla="*/ 8610 h 10000"/>
                <a:gd name="connsiteX6" fmla="*/ 5658 w 9358"/>
                <a:gd name="connsiteY6" fmla="*/ 5510 h 10000"/>
                <a:gd name="connsiteX7" fmla="*/ 6562 w 9358"/>
                <a:gd name="connsiteY7" fmla="*/ 7730 h 10000"/>
                <a:gd name="connsiteX8" fmla="*/ 7375 w 9358"/>
                <a:gd name="connsiteY8" fmla="*/ 4953 h 10000"/>
                <a:gd name="connsiteX9" fmla="*/ 8282 w 9358"/>
                <a:gd name="connsiteY9" fmla="*/ 3936 h 10000"/>
                <a:gd name="connsiteX10" fmla="*/ 9358 w 9358"/>
                <a:gd name="connsiteY10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9358" h="10000">
                  <a:moveTo>
                    <a:pt x="0" y="6065"/>
                  </a:moveTo>
                  <a:lnTo>
                    <a:pt x="909" y="3936"/>
                  </a:lnTo>
                  <a:lnTo>
                    <a:pt x="2055" y="3659"/>
                  </a:lnTo>
                  <a:lnTo>
                    <a:pt x="3058" y="7453"/>
                  </a:lnTo>
                  <a:lnTo>
                    <a:pt x="4160" y="10000"/>
                  </a:lnTo>
                  <a:lnTo>
                    <a:pt x="4844" y="8610"/>
                  </a:lnTo>
                  <a:cubicBezTo>
                    <a:pt x="5118" y="7578"/>
                    <a:pt x="5386" y="6544"/>
                    <a:pt x="5658" y="5510"/>
                  </a:cubicBezTo>
                  <a:lnTo>
                    <a:pt x="6562" y="7730"/>
                  </a:lnTo>
                  <a:cubicBezTo>
                    <a:pt x="6828" y="6803"/>
                    <a:pt x="7102" y="5880"/>
                    <a:pt x="7375" y="4953"/>
                  </a:cubicBezTo>
                  <a:lnTo>
                    <a:pt x="8282" y="3936"/>
                  </a:lnTo>
                  <a:cubicBezTo>
                    <a:pt x="8645" y="2624"/>
                    <a:pt x="8999" y="1313"/>
                    <a:pt x="9358" y="0"/>
                  </a:cubicBez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3" name="Freeform 71"/>
            <p:cNvSpPr>
              <a:spLocks/>
            </p:cNvSpPr>
            <p:nvPr/>
          </p:nvSpPr>
          <p:spPr bwMode="auto">
            <a:xfrm rot="469748">
              <a:off x="7643302" y="2282266"/>
              <a:ext cx="1386098" cy="128591"/>
            </a:xfrm>
            <a:custGeom>
              <a:avLst/>
              <a:gdLst>
                <a:gd name="T0" fmla="*/ 0 w 1196"/>
                <a:gd name="T1" fmla="*/ 89 h 146"/>
                <a:gd name="T2" fmla="*/ 82 w 1196"/>
                <a:gd name="T3" fmla="*/ 146 h 146"/>
                <a:gd name="T4" fmla="*/ 185 w 1196"/>
                <a:gd name="T5" fmla="*/ 10 h 146"/>
                <a:gd name="T6" fmla="*/ 404 w 1196"/>
                <a:gd name="T7" fmla="*/ 40 h 146"/>
                <a:gd name="T8" fmla="*/ 502 w 1196"/>
                <a:gd name="T9" fmla="*/ 16 h 146"/>
                <a:gd name="T10" fmla="*/ 648 w 1196"/>
                <a:gd name="T11" fmla="*/ 52 h 146"/>
                <a:gd name="T12" fmla="*/ 824 w 1196"/>
                <a:gd name="T13" fmla="*/ 110 h 146"/>
                <a:gd name="T14" fmla="*/ 964 w 1196"/>
                <a:gd name="T15" fmla="*/ 101 h 146"/>
                <a:gd name="T16" fmla="*/ 980 w 1196"/>
                <a:gd name="T17" fmla="*/ 10 h 146"/>
                <a:gd name="T18" fmla="*/ 1104 w 1196"/>
                <a:gd name="T19" fmla="*/ 0 h 146"/>
                <a:gd name="T20" fmla="*/ 1196 w 1196"/>
                <a:gd name="T21" fmla="*/ 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6" h="146">
                  <a:moveTo>
                    <a:pt x="0" y="89"/>
                  </a:moveTo>
                  <a:lnTo>
                    <a:pt x="82" y="146"/>
                  </a:lnTo>
                  <a:lnTo>
                    <a:pt x="185" y="10"/>
                  </a:lnTo>
                  <a:lnTo>
                    <a:pt x="404" y="40"/>
                  </a:lnTo>
                  <a:lnTo>
                    <a:pt x="502" y="16"/>
                  </a:lnTo>
                  <a:lnTo>
                    <a:pt x="648" y="52"/>
                  </a:lnTo>
                  <a:lnTo>
                    <a:pt x="824" y="110"/>
                  </a:lnTo>
                  <a:lnTo>
                    <a:pt x="964" y="101"/>
                  </a:lnTo>
                  <a:lnTo>
                    <a:pt x="980" y="10"/>
                  </a:lnTo>
                  <a:lnTo>
                    <a:pt x="1104" y="0"/>
                  </a:lnTo>
                  <a:lnTo>
                    <a:pt x="1196" y="31"/>
                  </a:ln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4" name="Freeform 72"/>
            <p:cNvSpPr>
              <a:spLocks/>
            </p:cNvSpPr>
            <p:nvPr/>
          </p:nvSpPr>
          <p:spPr bwMode="auto">
            <a:xfrm>
              <a:off x="9015500" y="2254950"/>
              <a:ext cx="1374508" cy="144444"/>
            </a:xfrm>
            <a:custGeom>
              <a:avLst/>
              <a:gdLst>
                <a:gd name="T0" fmla="*/ 0 w 1186"/>
                <a:gd name="T1" fmla="*/ 164 h 164"/>
                <a:gd name="T2" fmla="*/ 146 w 1186"/>
                <a:gd name="T3" fmla="*/ 58 h 164"/>
                <a:gd name="T4" fmla="*/ 249 w 1186"/>
                <a:gd name="T5" fmla="*/ 55 h 164"/>
                <a:gd name="T6" fmla="*/ 334 w 1186"/>
                <a:gd name="T7" fmla="*/ 0 h 164"/>
                <a:gd name="T8" fmla="*/ 435 w 1186"/>
                <a:gd name="T9" fmla="*/ 55 h 164"/>
                <a:gd name="T10" fmla="*/ 578 w 1186"/>
                <a:gd name="T11" fmla="*/ 97 h 164"/>
                <a:gd name="T12" fmla="*/ 714 w 1186"/>
                <a:gd name="T13" fmla="*/ 18 h 164"/>
                <a:gd name="T14" fmla="*/ 870 w 1186"/>
                <a:gd name="T15" fmla="*/ 12 h 164"/>
                <a:gd name="T16" fmla="*/ 924 w 1186"/>
                <a:gd name="T17" fmla="*/ 67 h 164"/>
                <a:gd name="T18" fmla="*/ 1095 w 1186"/>
                <a:gd name="T19" fmla="*/ 116 h 164"/>
                <a:gd name="T20" fmla="*/ 1186 w 1186"/>
                <a:gd name="T21" fmla="*/ 6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6" h="164">
                  <a:moveTo>
                    <a:pt x="0" y="164"/>
                  </a:moveTo>
                  <a:lnTo>
                    <a:pt x="146" y="58"/>
                  </a:lnTo>
                  <a:lnTo>
                    <a:pt x="249" y="55"/>
                  </a:lnTo>
                  <a:lnTo>
                    <a:pt x="334" y="0"/>
                  </a:lnTo>
                  <a:lnTo>
                    <a:pt x="435" y="55"/>
                  </a:lnTo>
                  <a:lnTo>
                    <a:pt x="578" y="97"/>
                  </a:lnTo>
                  <a:lnTo>
                    <a:pt x="714" y="18"/>
                  </a:lnTo>
                  <a:lnTo>
                    <a:pt x="870" y="12"/>
                  </a:lnTo>
                  <a:lnTo>
                    <a:pt x="924" y="67"/>
                  </a:lnTo>
                  <a:lnTo>
                    <a:pt x="1095" y="116"/>
                  </a:lnTo>
                  <a:lnTo>
                    <a:pt x="1186" y="61"/>
                  </a:ln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Line 69"/>
            <p:cNvSpPr>
              <a:spLocks noChangeShapeType="1"/>
            </p:cNvSpPr>
            <p:nvPr/>
          </p:nvSpPr>
          <p:spPr bwMode="auto">
            <a:xfrm>
              <a:off x="7743653" y="4635699"/>
              <a:ext cx="0" cy="0"/>
            </a:xfrm>
            <a:prstGeom prst="line">
              <a:avLst/>
            </a:pr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70"/>
            <p:cNvSpPr>
              <a:spLocks/>
            </p:cNvSpPr>
            <p:nvPr/>
          </p:nvSpPr>
          <p:spPr bwMode="auto">
            <a:xfrm>
              <a:off x="6265999" y="4581973"/>
              <a:ext cx="1382621" cy="190244"/>
            </a:xfrm>
            <a:custGeom>
              <a:avLst/>
              <a:gdLst>
                <a:gd name="T0" fmla="*/ 0 w 1193"/>
                <a:gd name="T1" fmla="*/ 131 h 216"/>
                <a:gd name="T2" fmla="*/ 116 w 1193"/>
                <a:gd name="T3" fmla="*/ 85 h 216"/>
                <a:gd name="T4" fmla="*/ 262 w 1193"/>
                <a:gd name="T5" fmla="*/ 79 h 216"/>
                <a:gd name="T6" fmla="*/ 390 w 1193"/>
                <a:gd name="T7" fmla="*/ 161 h 216"/>
                <a:gd name="T8" fmla="*/ 530 w 1193"/>
                <a:gd name="T9" fmla="*/ 216 h 216"/>
                <a:gd name="T10" fmla="*/ 618 w 1193"/>
                <a:gd name="T11" fmla="*/ 186 h 216"/>
                <a:gd name="T12" fmla="*/ 721 w 1193"/>
                <a:gd name="T13" fmla="*/ 119 h 216"/>
                <a:gd name="T14" fmla="*/ 837 w 1193"/>
                <a:gd name="T15" fmla="*/ 167 h 216"/>
                <a:gd name="T16" fmla="*/ 940 w 1193"/>
                <a:gd name="T17" fmla="*/ 106 h 216"/>
                <a:gd name="T18" fmla="*/ 1056 w 1193"/>
                <a:gd name="T19" fmla="*/ 85 h 216"/>
                <a:gd name="T20" fmla="*/ 1193 w 1193"/>
                <a:gd name="T21" fmla="*/ 0 h 2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3" h="216">
                  <a:moveTo>
                    <a:pt x="0" y="131"/>
                  </a:moveTo>
                  <a:lnTo>
                    <a:pt x="116" y="85"/>
                  </a:lnTo>
                  <a:lnTo>
                    <a:pt x="262" y="79"/>
                  </a:lnTo>
                  <a:lnTo>
                    <a:pt x="390" y="161"/>
                  </a:lnTo>
                  <a:lnTo>
                    <a:pt x="530" y="216"/>
                  </a:lnTo>
                  <a:lnTo>
                    <a:pt x="618" y="186"/>
                  </a:lnTo>
                  <a:lnTo>
                    <a:pt x="721" y="119"/>
                  </a:lnTo>
                  <a:lnTo>
                    <a:pt x="837" y="167"/>
                  </a:lnTo>
                  <a:lnTo>
                    <a:pt x="940" y="106"/>
                  </a:lnTo>
                  <a:lnTo>
                    <a:pt x="1056" y="85"/>
                  </a:lnTo>
                  <a:lnTo>
                    <a:pt x="1193" y="0"/>
                  </a:ln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8" name="Freeform 71"/>
            <p:cNvSpPr>
              <a:spLocks/>
            </p:cNvSpPr>
            <p:nvPr/>
          </p:nvSpPr>
          <p:spPr bwMode="auto">
            <a:xfrm rot="438169">
              <a:off x="7648620" y="4585847"/>
              <a:ext cx="1386098" cy="128591"/>
            </a:xfrm>
            <a:custGeom>
              <a:avLst/>
              <a:gdLst>
                <a:gd name="T0" fmla="*/ 0 w 1196"/>
                <a:gd name="T1" fmla="*/ 89 h 146"/>
                <a:gd name="T2" fmla="*/ 82 w 1196"/>
                <a:gd name="T3" fmla="*/ 146 h 146"/>
                <a:gd name="T4" fmla="*/ 185 w 1196"/>
                <a:gd name="T5" fmla="*/ 10 h 146"/>
                <a:gd name="T6" fmla="*/ 404 w 1196"/>
                <a:gd name="T7" fmla="*/ 40 h 146"/>
                <a:gd name="T8" fmla="*/ 502 w 1196"/>
                <a:gd name="T9" fmla="*/ 16 h 146"/>
                <a:gd name="T10" fmla="*/ 648 w 1196"/>
                <a:gd name="T11" fmla="*/ 52 h 146"/>
                <a:gd name="T12" fmla="*/ 824 w 1196"/>
                <a:gd name="T13" fmla="*/ 110 h 146"/>
                <a:gd name="T14" fmla="*/ 964 w 1196"/>
                <a:gd name="T15" fmla="*/ 101 h 146"/>
                <a:gd name="T16" fmla="*/ 980 w 1196"/>
                <a:gd name="T17" fmla="*/ 10 h 146"/>
                <a:gd name="T18" fmla="*/ 1104 w 1196"/>
                <a:gd name="T19" fmla="*/ 0 h 146"/>
                <a:gd name="T20" fmla="*/ 1196 w 1196"/>
                <a:gd name="T21" fmla="*/ 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6" h="146">
                  <a:moveTo>
                    <a:pt x="0" y="89"/>
                  </a:moveTo>
                  <a:lnTo>
                    <a:pt x="82" y="146"/>
                  </a:lnTo>
                  <a:lnTo>
                    <a:pt x="185" y="10"/>
                  </a:lnTo>
                  <a:lnTo>
                    <a:pt x="404" y="40"/>
                  </a:lnTo>
                  <a:lnTo>
                    <a:pt x="502" y="16"/>
                  </a:lnTo>
                  <a:lnTo>
                    <a:pt x="648" y="52"/>
                  </a:lnTo>
                  <a:lnTo>
                    <a:pt x="824" y="110"/>
                  </a:lnTo>
                  <a:lnTo>
                    <a:pt x="964" y="101"/>
                  </a:lnTo>
                  <a:lnTo>
                    <a:pt x="980" y="10"/>
                  </a:lnTo>
                  <a:lnTo>
                    <a:pt x="1104" y="0"/>
                  </a:lnTo>
                  <a:lnTo>
                    <a:pt x="1196" y="31"/>
                  </a:lnTo>
                </a:path>
              </a:pathLst>
            </a:custGeom>
            <a:noFill/>
            <a:ln w="52388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71"/>
            <p:cNvSpPr>
              <a:spLocks/>
            </p:cNvSpPr>
            <p:nvPr/>
          </p:nvSpPr>
          <p:spPr bwMode="auto">
            <a:xfrm rot="480885">
              <a:off x="7648620" y="4270239"/>
              <a:ext cx="1386098" cy="128591"/>
            </a:xfrm>
            <a:custGeom>
              <a:avLst/>
              <a:gdLst>
                <a:gd name="T0" fmla="*/ 0 w 1196"/>
                <a:gd name="T1" fmla="*/ 89 h 146"/>
                <a:gd name="T2" fmla="*/ 82 w 1196"/>
                <a:gd name="T3" fmla="*/ 146 h 146"/>
                <a:gd name="T4" fmla="*/ 185 w 1196"/>
                <a:gd name="T5" fmla="*/ 10 h 146"/>
                <a:gd name="T6" fmla="*/ 404 w 1196"/>
                <a:gd name="T7" fmla="*/ 40 h 146"/>
                <a:gd name="T8" fmla="*/ 502 w 1196"/>
                <a:gd name="T9" fmla="*/ 16 h 146"/>
                <a:gd name="T10" fmla="*/ 648 w 1196"/>
                <a:gd name="T11" fmla="*/ 52 h 146"/>
                <a:gd name="T12" fmla="*/ 824 w 1196"/>
                <a:gd name="T13" fmla="*/ 110 h 146"/>
                <a:gd name="T14" fmla="*/ 964 w 1196"/>
                <a:gd name="T15" fmla="*/ 101 h 146"/>
                <a:gd name="T16" fmla="*/ 980 w 1196"/>
                <a:gd name="T17" fmla="*/ 10 h 146"/>
                <a:gd name="T18" fmla="*/ 1104 w 1196"/>
                <a:gd name="T19" fmla="*/ 0 h 146"/>
                <a:gd name="T20" fmla="*/ 1196 w 1196"/>
                <a:gd name="T21" fmla="*/ 31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96" h="146">
                  <a:moveTo>
                    <a:pt x="0" y="89"/>
                  </a:moveTo>
                  <a:lnTo>
                    <a:pt x="82" y="146"/>
                  </a:lnTo>
                  <a:lnTo>
                    <a:pt x="185" y="10"/>
                  </a:lnTo>
                  <a:lnTo>
                    <a:pt x="404" y="40"/>
                  </a:lnTo>
                  <a:lnTo>
                    <a:pt x="502" y="16"/>
                  </a:lnTo>
                  <a:lnTo>
                    <a:pt x="648" y="52"/>
                  </a:lnTo>
                  <a:lnTo>
                    <a:pt x="824" y="110"/>
                  </a:lnTo>
                  <a:lnTo>
                    <a:pt x="964" y="101"/>
                  </a:lnTo>
                  <a:lnTo>
                    <a:pt x="980" y="10"/>
                  </a:lnTo>
                  <a:lnTo>
                    <a:pt x="1104" y="0"/>
                  </a:lnTo>
                  <a:lnTo>
                    <a:pt x="1196" y="31"/>
                  </a:ln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Line 75"/>
            <p:cNvSpPr>
              <a:spLocks noChangeShapeType="1"/>
            </p:cNvSpPr>
            <p:nvPr/>
          </p:nvSpPr>
          <p:spPr bwMode="auto">
            <a:xfrm flipH="1">
              <a:off x="7648620" y="4772217"/>
              <a:ext cx="1381462" cy="0"/>
            </a:xfrm>
            <a:prstGeom prst="line">
              <a:avLst/>
            </a:prstGeom>
            <a:noFill/>
            <a:ln w="19050" cap="flat">
              <a:solidFill>
                <a:srgbClr val="78CDC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Line 76"/>
            <p:cNvSpPr>
              <a:spLocks noChangeShapeType="1"/>
            </p:cNvSpPr>
            <p:nvPr/>
          </p:nvSpPr>
          <p:spPr bwMode="auto">
            <a:xfrm flipH="1">
              <a:off x="6265999" y="4772217"/>
              <a:ext cx="1382621" cy="0"/>
            </a:xfrm>
            <a:prstGeom prst="line">
              <a:avLst/>
            </a:prstGeom>
            <a:noFill/>
            <a:ln w="19050" cap="flat">
              <a:solidFill>
                <a:srgbClr val="78CDCD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Line 83"/>
            <p:cNvSpPr>
              <a:spLocks noChangeShapeType="1"/>
            </p:cNvSpPr>
            <p:nvPr/>
          </p:nvSpPr>
          <p:spPr bwMode="auto">
            <a:xfrm>
              <a:off x="8403433" y="4354255"/>
              <a:ext cx="0" cy="281443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Textfeld 6"/>
            <p:cNvSpPr txBox="1"/>
            <p:nvPr/>
          </p:nvSpPr>
          <p:spPr>
            <a:xfrm>
              <a:off x="6259190" y="3762918"/>
              <a:ext cx="252000" cy="156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</a:t>
              </a:r>
              <a:r>
                <a:rPr lang="en-US" sz="1000" baseline="-25000" dirty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</a:t>
              </a:r>
            </a:p>
          </p:txBody>
        </p:sp>
        <p:sp>
          <p:nvSpPr>
            <p:cNvPr id="16" name="Line 56"/>
            <p:cNvSpPr>
              <a:spLocks noChangeShapeType="1"/>
            </p:cNvSpPr>
            <p:nvPr/>
          </p:nvSpPr>
          <p:spPr bwMode="auto">
            <a:xfrm>
              <a:off x="10419655" y="2762336"/>
              <a:ext cx="0" cy="0"/>
            </a:xfrm>
            <a:prstGeom prst="line">
              <a:avLst/>
            </a:prstGeom>
            <a:noFill/>
            <a:ln w="9525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Line 64"/>
            <p:cNvSpPr>
              <a:spLocks noChangeShapeType="1"/>
            </p:cNvSpPr>
            <p:nvPr/>
          </p:nvSpPr>
          <p:spPr bwMode="auto">
            <a:xfrm flipV="1">
              <a:off x="7648619" y="1628800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Line 65"/>
            <p:cNvSpPr>
              <a:spLocks noChangeShapeType="1"/>
            </p:cNvSpPr>
            <p:nvPr/>
          </p:nvSpPr>
          <p:spPr bwMode="auto">
            <a:xfrm flipV="1">
              <a:off x="9030081" y="1628800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Line 66"/>
            <p:cNvSpPr>
              <a:spLocks noChangeShapeType="1"/>
            </p:cNvSpPr>
            <p:nvPr/>
          </p:nvSpPr>
          <p:spPr bwMode="auto">
            <a:xfrm flipV="1">
              <a:off x="10412701" y="1628800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Line 67"/>
            <p:cNvSpPr>
              <a:spLocks noChangeShapeType="1"/>
            </p:cNvSpPr>
            <p:nvPr/>
          </p:nvSpPr>
          <p:spPr bwMode="auto">
            <a:xfrm>
              <a:off x="6265998" y="2666333"/>
              <a:ext cx="4153657" cy="0"/>
            </a:xfrm>
            <a:prstGeom prst="line">
              <a:avLst/>
            </a:prstGeom>
            <a:noFill/>
            <a:ln w="28575" cap="sq">
              <a:solidFill>
                <a:srgbClr val="5665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Line 59"/>
            <p:cNvSpPr>
              <a:spLocks noChangeShapeType="1"/>
            </p:cNvSpPr>
            <p:nvPr/>
          </p:nvSpPr>
          <p:spPr bwMode="auto">
            <a:xfrm flipV="1">
              <a:off x="7648620" y="3968084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Line 60"/>
            <p:cNvSpPr>
              <a:spLocks noChangeShapeType="1"/>
            </p:cNvSpPr>
            <p:nvPr/>
          </p:nvSpPr>
          <p:spPr bwMode="auto">
            <a:xfrm flipV="1">
              <a:off x="9030082" y="3968084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Line 61"/>
            <p:cNvSpPr>
              <a:spLocks noChangeShapeType="1"/>
            </p:cNvSpPr>
            <p:nvPr/>
          </p:nvSpPr>
          <p:spPr bwMode="auto">
            <a:xfrm flipV="1">
              <a:off x="10412702" y="3968084"/>
              <a:ext cx="0" cy="1037533"/>
            </a:xfrm>
            <a:prstGeom prst="line">
              <a:avLst/>
            </a:prstGeom>
            <a:noFill/>
            <a:ln w="14288" cap="flat">
              <a:solidFill>
                <a:srgbClr val="BECDD7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Line 62"/>
            <p:cNvSpPr>
              <a:spLocks noChangeShapeType="1"/>
            </p:cNvSpPr>
            <p:nvPr/>
          </p:nvSpPr>
          <p:spPr bwMode="auto">
            <a:xfrm>
              <a:off x="6265999" y="5005618"/>
              <a:ext cx="4153657" cy="0"/>
            </a:xfrm>
            <a:prstGeom prst="line">
              <a:avLst/>
            </a:prstGeom>
            <a:noFill/>
            <a:ln w="28575" cap="sq">
              <a:solidFill>
                <a:srgbClr val="5665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Line 63"/>
            <p:cNvSpPr>
              <a:spLocks noChangeShapeType="1"/>
            </p:cNvSpPr>
            <p:nvPr/>
          </p:nvSpPr>
          <p:spPr bwMode="auto">
            <a:xfrm flipV="1">
              <a:off x="6265999" y="3968084"/>
              <a:ext cx="0" cy="1037533"/>
            </a:xfrm>
            <a:prstGeom prst="line">
              <a:avLst/>
            </a:prstGeom>
            <a:noFill/>
            <a:ln w="28575" cap="sq">
              <a:solidFill>
                <a:srgbClr val="5665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8" name="Textfeld 137"/>
            <p:cNvSpPr txBox="1"/>
            <p:nvPr/>
          </p:nvSpPr>
          <p:spPr>
            <a:xfrm>
              <a:off x="6663867" y="2700297"/>
              <a:ext cx="540212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39" name="Textfeld 138"/>
            <p:cNvSpPr txBox="1"/>
            <p:nvPr/>
          </p:nvSpPr>
          <p:spPr>
            <a:xfrm>
              <a:off x="8057865" y="2700297"/>
              <a:ext cx="540212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0" name="Textfeld 139"/>
            <p:cNvSpPr txBox="1"/>
            <p:nvPr/>
          </p:nvSpPr>
          <p:spPr>
            <a:xfrm>
              <a:off x="9451864" y="2700297"/>
              <a:ext cx="540212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1" name="Textfeld 140"/>
            <p:cNvSpPr txBox="1"/>
            <p:nvPr/>
          </p:nvSpPr>
          <p:spPr>
            <a:xfrm>
              <a:off x="6663868" y="5037063"/>
              <a:ext cx="54021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2" name="Textfeld 141"/>
            <p:cNvSpPr txBox="1"/>
            <p:nvPr/>
          </p:nvSpPr>
          <p:spPr>
            <a:xfrm>
              <a:off x="8057866" y="5037063"/>
              <a:ext cx="54021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43" name="Textfeld 142"/>
            <p:cNvSpPr txBox="1"/>
            <p:nvPr/>
          </p:nvSpPr>
          <p:spPr>
            <a:xfrm>
              <a:off x="9451865" y="5037063"/>
              <a:ext cx="540212" cy="156133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 </a:t>
              </a:r>
              <a:r>
                <a:rPr lang="ru-RU" sz="10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недели</a:t>
              </a:r>
              <a:endParaRPr lang="en-US" sz="10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8" name="Line 68"/>
            <p:cNvSpPr>
              <a:spLocks noChangeShapeType="1"/>
            </p:cNvSpPr>
            <p:nvPr/>
          </p:nvSpPr>
          <p:spPr bwMode="auto">
            <a:xfrm flipV="1">
              <a:off x="6265998" y="1628800"/>
              <a:ext cx="0" cy="1037533"/>
            </a:xfrm>
            <a:prstGeom prst="line">
              <a:avLst/>
            </a:prstGeom>
            <a:noFill/>
            <a:ln w="28575" cap="sq">
              <a:solidFill>
                <a:srgbClr val="56656F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9" name="Freeform 72"/>
            <p:cNvSpPr>
              <a:spLocks/>
            </p:cNvSpPr>
            <p:nvPr/>
          </p:nvSpPr>
          <p:spPr bwMode="auto">
            <a:xfrm rot="159449">
              <a:off x="9034717" y="4602068"/>
              <a:ext cx="1374508" cy="144444"/>
            </a:xfrm>
            <a:custGeom>
              <a:avLst/>
              <a:gdLst>
                <a:gd name="T0" fmla="*/ 0 w 1186"/>
                <a:gd name="T1" fmla="*/ 164 h 164"/>
                <a:gd name="T2" fmla="*/ 146 w 1186"/>
                <a:gd name="T3" fmla="*/ 58 h 164"/>
                <a:gd name="T4" fmla="*/ 249 w 1186"/>
                <a:gd name="T5" fmla="*/ 55 h 164"/>
                <a:gd name="T6" fmla="*/ 334 w 1186"/>
                <a:gd name="T7" fmla="*/ 0 h 164"/>
                <a:gd name="T8" fmla="*/ 435 w 1186"/>
                <a:gd name="T9" fmla="*/ 55 h 164"/>
                <a:gd name="T10" fmla="*/ 578 w 1186"/>
                <a:gd name="T11" fmla="*/ 97 h 164"/>
                <a:gd name="T12" fmla="*/ 714 w 1186"/>
                <a:gd name="T13" fmla="*/ 18 h 164"/>
                <a:gd name="T14" fmla="*/ 870 w 1186"/>
                <a:gd name="T15" fmla="*/ 12 h 164"/>
                <a:gd name="T16" fmla="*/ 924 w 1186"/>
                <a:gd name="T17" fmla="*/ 67 h 164"/>
                <a:gd name="T18" fmla="*/ 1095 w 1186"/>
                <a:gd name="T19" fmla="*/ 116 h 164"/>
                <a:gd name="T20" fmla="*/ 1186 w 1186"/>
                <a:gd name="T21" fmla="*/ 6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6" h="164">
                  <a:moveTo>
                    <a:pt x="0" y="164"/>
                  </a:moveTo>
                  <a:lnTo>
                    <a:pt x="146" y="58"/>
                  </a:lnTo>
                  <a:lnTo>
                    <a:pt x="249" y="55"/>
                  </a:lnTo>
                  <a:lnTo>
                    <a:pt x="334" y="0"/>
                  </a:lnTo>
                  <a:lnTo>
                    <a:pt x="435" y="55"/>
                  </a:lnTo>
                  <a:lnTo>
                    <a:pt x="578" y="97"/>
                  </a:lnTo>
                  <a:lnTo>
                    <a:pt x="714" y="18"/>
                  </a:lnTo>
                  <a:lnTo>
                    <a:pt x="870" y="12"/>
                  </a:lnTo>
                  <a:lnTo>
                    <a:pt x="924" y="67"/>
                  </a:lnTo>
                  <a:lnTo>
                    <a:pt x="1095" y="116"/>
                  </a:lnTo>
                  <a:lnTo>
                    <a:pt x="1186" y="61"/>
                  </a:lnTo>
                </a:path>
              </a:pathLst>
            </a:custGeom>
            <a:noFill/>
            <a:ln w="52388" cap="flat">
              <a:solidFill>
                <a:schemeClr val="accent2">
                  <a:lumMod val="60000"/>
                  <a:lumOff val="40000"/>
                </a:schemeClr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Freeform 72"/>
            <p:cNvSpPr>
              <a:spLocks/>
            </p:cNvSpPr>
            <p:nvPr/>
          </p:nvSpPr>
          <p:spPr bwMode="auto">
            <a:xfrm>
              <a:off x="9034717" y="4102228"/>
              <a:ext cx="1374508" cy="144444"/>
            </a:xfrm>
            <a:custGeom>
              <a:avLst/>
              <a:gdLst>
                <a:gd name="T0" fmla="*/ 0 w 1186"/>
                <a:gd name="T1" fmla="*/ 164 h 164"/>
                <a:gd name="T2" fmla="*/ 146 w 1186"/>
                <a:gd name="T3" fmla="*/ 58 h 164"/>
                <a:gd name="T4" fmla="*/ 249 w 1186"/>
                <a:gd name="T5" fmla="*/ 55 h 164"/>
                <a:gd name="T6" fmla="*/ 334 w 1186"/>
                <a:gd name="T7" fmla="*/ 0 h 164"/>
                <a:gd name="T8" fmla="*/ 435 w 1186"/>
                <a:gd name="T9" fmla="*/ 55 h 164"/>
                <a:gd name="T10" fmla="*/ 578 w 1186"/>
                <a:gd name="T11" fmla="*/ 97 h 164"/>
                <a:gd name="T12" fmla="*/ 714 w 1186"/>
                <a:gd name="T13" fmla="*/ 18 h 164"/>
                <a:gd name="T14" fmla="*/ 870 w 1186"/>
                <a:gd name="T15" fmla="*/ 12 h 164"/>
                <a:gd name="T16" fmla="*/ 924 w 1186"/>
                <a:gd name="T17" fmla="*/ 67 h 164"/>
                <a:gd name="T18" fmla="*/ 1095 w 1186"/>
                <a:gd name="T19" fmla="*/ 116 h 164"/>
                <a:gd name="T20" fmla="*/ 1186 w 1186"/>
                <a:gd name="T21" fmla="*/ 61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186" h="164">
                  <a:moveTo>
                    <a:pt x="0" y="164"/>
                  </a:moveTo>
                  <a:lnTo>
                    <a:pt x="146" y="58"/>
                  </a:lnTo>
                  <a:lnTo>
                    <a:pt x="249" y="55"/>
                  </a:lnTo>
                  <a:lnTo>
                    <a:pt x="334" y="0"/>
                  </a:lnTo>
                  <a:lnTo>
                    <a:pt x="435" y="55"/>
                  </a:lnTo>
                  <a:lnTo>
                    <a:pt x="578" y="97"/>
                  </a:lnTo>
                  <a:lnTo>
                    <a:pt x="714" y="18"/>
                  </a:lnTo>
                  <a:lnTo>
                    <a:pt x="870" y="12"/>
                  </a:lnTo>
                  <a:lnTo>
                    <a:pt x="924" y="67"/>
                  </a:lnTo>
                  <a:lnTo>
                    <a:pt x="1095" y="116"/>
                  </a:lnTo>
                  <a:lnTo>
                    <a:pt x="1186" y="61"/>
                  </a:lnTo>
                </a:path>
              </a:pathLst>
            </a:custGeom>
            <a:noFill/>
            <a:ln w="52388" cap="flat">
              <a:solidFill>
                <a:srgbClr val="41AAAA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Line 77"/>
            <p:cNvSpPr>
              <a:spLocks noChangeShapeType="1"/>
            </p:cNvSpPr>
            <p:nvPr/>
          </p:nvSpPr>
          <p:spPr bwMode="auto">
            <a:xfrm flipH="1">
              <a:off x="9030082" y="4462268"/>
              <a:ext cx="1382621" cy="0"/>
            </a:xfrm>
            <a:prstGeom prst="line">
              <a:avLst/>
            </a:prstGeom>
            <a:noFill/>
            <a:ln w="19050" cap="flat">
              <a:solidFill>
                <a:srgbClr val="78CDCD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Line 78"/>
            <p:cNvSpPr>
              <a:spLocks noChangeShapeType="1"/>
            </p:cNvSpPr>
            <p:nvPr/>
          </p:nvSpPr>
          <p:spPr bwMode="auto">
            <a:xfrm flipH="1">
              <a:off x="7648620" y="4462268"/>
              <a:ext cx="1381462" cy="0"/>
            </a:xfrm>
            <a:prstGeom prst="line">
              <a:avLst/>
            </a:prstGeom>
            <a:noFill/>
            <a:ln w="19050" cap="flat">
              <a:solidFill>
                <a:srgbClr val="78CDCD"/>
              </a:solidFill>
              <a:prstDash val="sysDot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Line 89"/>
            <p:cNvSpPr>
              <a:spLocks noChangeShapeType="1"/>
            </p:cNvSpPr>
            <p:nvPr/>
          </p:nvSpPr>
          <p:spPr bwMode="auto">
            <a:xfrm>
              <a:off x="9195521" y="4168588"/>
              <a:ext cx="0" cy="437696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Line 92"/>
            <p:cNvSpPr>
              <a:spLocks noChangeShapeType="1"/>
            </p:cNvSpPr>
            <p:nvPr/>
          </p:nvSpPr>
          <p:spPr bwMode="auto">
            <a:xfrm>
              <a:off x="9721971" y="4200645"/>
              <a:ext cx="0" cy="450533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Line 95"/>
            <p:cNvSpPr>
              <a:spLocks noChangeShapeType="1"/>
            </p:cNvSpPr>
            <p:nvPr/>
          </p:nvSpPr>
          <p:spPr bwMode="auto">
            <a:xfrm>
              <a:off x="10239637" y="4210240"/>
              <a:ext cx="0" cy="486136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Line 86"/>
            <p:cNvSpPr>
              <a:spLocks noChangeShapeType="1"/>
            </p:cNvSpPr>
            <p:nvPr/>
          </p:nvSpPr>
          <p:spPr bwMode="auto">
            <a:xfrm>
              <a:off x="8871485" y="4354256"/>
              <a:ext cx="0" cy="296923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Line 80"/>
            <p:cNvSpPr>
              <a:spLocks noChangeShapeType="1"/>
            </p:cNvSpPr>
            <p:nvPr/>
          </p:nvSpPr>
          <p:spPr bwMode="auto">
            <a:xfrm>
              <a:off x="7899377" y="4246672"/>
              <a:ext cx="0" cy="277974"/>
            </a:xfrm>
            <a:prstGeom prst="line">
              <a:avLst/>
            </a:prstGeom>
            <a:noFill/>
            <a:ln w="14288" cap="flat">
              <a:solidFill>
                <a:srgbClr val="3C464B"/>
              </a:solidFill>
              <a:prstDash val="solid"/>
              <a:miter lim="800000"/>
              <a:headEnd type="triangle" w="med" len="med"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Textfeld 93"/>
            <p:cNvSpPr txBox="1"/>
            <p:nvPr/>
          </p:nvSpPr>
          <p:spPr>
            <a:xfrm>
              <a:off x="6265999" y="1449388"/>
              <a:ext cx="252000" cy="15613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en-US" sz="1000" dirty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O</a:t>
              </a:r>
              <a:r>
                <a:rPr lang="en-US" sz="1000" baseline="-25000" dirty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2</a:t>
              </a:r>
            </a:p>
          </p:txBody>
        </p:sp>
      </p:grpSp>
      <p:grpSp>
        <p:nvGrpSpPr>
          <p:cNvPr id="181" name="Группа 180"/>
          <p:cNvGrpSpPr/>
          <p:nvPr/>
        </p:nvGrpSpPr>
        <p:grpSpPr>
          <a:xfrm>
            <a:off x="5583748" y="2099673"/>
            <a:ext cx="6141261" cy="1942643"/>
            <a:chOff x="622300" y="2386258"/>
            <a:chExt cx="7205067" cy="2316156"/>
          </a:xfrm>
        </p:grpSpPr>
        <p:sp>
          <p:nvSpPr>
            <p:cNvPr id="182" name="Rechteck 127"/>
            <p:cNvSpPr/>
            <p:nvPr/>
          </p:nvSpPr>
          <p:spPr bwMode="auto">
            <a:xfrm>
              <a:off x="645617" y="4118213"/>
              <a:ext cx="3242666" cy="572294"/>
            </a:xfrm>
            <a:prstGeom prst="rect">
              <a:avLst/>
            </a:prstGeom>
            <a:solidFill>
              <a:srgbClr val="D2F0F0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3" name="Rechteck 9305"/>
            <p:cNvSpPr/>
            <p:nvPr/>
          </p:nvSpPr>
          <p:spPr bwMode="auto">
            <a:xfrm>
              <a:off x="4584701" y="4118213"/>
              <a:ext cx="3242666" cy="572294"/>
            </a:xfrm>
            <a:prstGeom prst="rect">
              <a:avLst/>
            </a:prstGeom>
            <a:solidFill>
              <a:srgbClr val="D2F0F0"/>
            </a:solidFill>
            <a:ln>
              <a:noFill/>
            </a:ln>
            <a:effectLst/>
            <a:extLst/>
          </p:spPr>
          <p:txBody>
            <a:bodyPr wrap="square" lIns="108000" tIns="54000" rIns="108000" bIns="54000" numCol="1" spcCol="72000" rtlCol="0" anchor="ctr">
              <a:noAutofit/>
            </a:bodyPr>
            <a:lstStyle/>
            <a:p>
              <a:pPr algn="ctr">
                <a:lnSpc>
                  <a:spcPct val="110000"/>
                </a:lnSpc>
                <a:spcBef>
                  <a:spcPct val="0"/>
                </a:spcBef>
                <a:buFont typeface="Wingdings" charset="0"/>
                <a:buNone/>
              </a:pPr>
              <a:endParaRPr lang="en-US" sz="1800" dirty="0" smtClean="0">
                <a:solidFill>
                  <a:schemeClr val="tx1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4" name="Textfeld 5"/>
            <p:cNvSpPr txBox="1"/>
            <p:nvPr/>
          </p:nvSpPr>
          <p:spPr>
            <a:xfrm>
              <a:off x="5919155" y="2386258"/>
              <a:ext cx="1908212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Датчики </a:t>
              </a:r>
              <a:r>
                <a:rPr lang="en-US" sz="1600" dirty="0" err="1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Symaro</a:t>
              </a:r>
              <a:endParaRPr lang="en-US" sz="16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5" name="Textfeld 6"/>
            <p:cNvSpPr txBox="1"/>
            <p:nvPr/>
          </p:nvSpPr>
          <p:spPr>
            <a:xfrm>
              <a:off x="1994719" y="2386258"/>
              <a:ext cx="1908212" cy="2880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r">
                <a:lnSpc>
                  <a:spcPct val="110000"/>
                </a:lnSpc>
                <a:spcBef>
                  <a:spcPts val="0"/>
                </a:spcBef>
              </a:pPr>
              <a:r>
                <a:rPr lang="ru-RU" sz="1600" dirty="0" smtClean="0">
                  <a:solidFill>
                    <a:srgbClr val="3C464B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Другие датчики</a:t>
              </a:r>
              <a:endParaRPr lang="en-US" sz="1600" dirty="0" smtClean="0">
                <a:solidFill>
                  <a:srgbClr val="3C464B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186" name="Freeform 64"/>
            <p:cNvSpPr>
              <a:spLocks noEditPoints="1"/>
            </p:cNvSpPr>
            <p:nvPr/>
          </p:nvSpPr>
          <p:spPr bwMode="auto">
            <a:xfrm>
              <a:off x="646113" y="4118213"/>
              <a:ext cx="3241675" cy="560388"/>
            </a:xfrm>
            <a:custGeom>
              <a:avLst/>
              <a:gdLst>
                <a:gd name="T0" fmla="*/ 2042 w 2042"/>
                <a:gd name="T1" fmla="*/ 118 h 353"/>
                <a:gd name="T2" fmla="*/ 0 w 2042"/>
                <a:gd name="T3" fmla="*/ 118 h 353"/>
                <a:gd name="T4" fmla="*/ 0 w 2042"/>
                <a:gd name="T5" fmla="*/ 353 h 353"/>
                <a:gd name="T6" fmla="*/ 2042 w 2042"/>
                <a:gd name="T7" fmla="*/ 353 h 353"/>
                <a:gd name="T8" fmla="*/ 2042 w 2042"/>
                <a:gd name="T9" fmla="*/ 118 h 353"/>
                <a:gd name="T10" fmla="*/ 2042 w 2042"/>
                <a:gd name="T11" fmla="*/ 0 h 353"/>
                <a:gd name="T12" fmla="*/ 0 w 2042"/>
                <a:gd name="T13" fmla="*/ 0 h 353"/>
                <a:gd name="T14" fmla="*/ 0 w 2042"/>
                <a:gd name="T15" fmla="*/ 112 h 353"/>
                <a:gd name="T16" fmla="*/ 2042 w 2042"/>
                <a:gd name="T17" fmla="*/ 112 h 353"/>
                <a:gd name="T18" fmla="*/ 2042 w 2042"/>
                <a:gd name="T19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2" h="353">
                  <a:moveTo>
                    <a:pt x="2042" y="118"/>
                  </a:moveTo>
                  <a:lnTo>
                    <a:pt x="0" y="118"/>
                  </a:lnTo>
                  <a:lnTo>
                    <a:pt x="0" y="353"/>
                  </a:lnTo>
                  <a:lnTo>
                    <a:pt x="2042" y="353"/>
                  </a:lnTo>
                  <a:lnTo>
                    <a:pt x="2042" y="118"/>
                  </a:lnTo>
                  <a:moveTo>
                    <a:pt x="2042" y="0"/>
                  </a:moveTo>
                  <a:lnTo>
                    <a:pt x="0" y="0"/>
                  </a:lnTo>
                  <a:lnTo>
                    <a:pt x="0" y="112"/>
                  </a:lnTo>
                  <a:lnTo>
                    <a:pt x="2042" y="112"/>
                  </a:lnTo>
                  <a:lnTo>
                    <a:pt x="2042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Rectangle 65"/>
            <p:cNvSpPr>
              <a:spLocks noChangeArrowheads="1"/>
            </p:cNvSpPr>
            <p:nvPr/>
          </p:nvSpPr>
          <p:spPr bwMode="auto">
            <a:xfrm>
              <a:off x="631825" y="4296013"/>
              <a:ext cx="14288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Rectangle 66"/>
            <p:cNvSpPr>
              <a:spLocks noChangeArrowheads="1"/>
            </p:cNvSpPr>
            <p:nvPr/>
          </p:nvSpPr>
          <p:spPr bwMode="auto">
            <a:xfrm>
              <a:off x="631825" y="4296013"/>
              <a:ext cx="14288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Rectangle 67"/>
            <p:cNvSpPr>
              <a:spLocks noChangeArrowheads="1"/>
            </p:cNvSpPr>
            <p:nvPr/>
          </p:nvSpPr>
          <p:spPr bwMode="auto">
            <a:xfrm>
              <a:off x="646113" y="4296013"/>
              <a:ext cx="3241675" cy="9525"/>
            </a:xfrm>
            <a:prstGeom prst="rect">
              <a:avLst/>
            </a:prstGeom>
            <a:solidFill>
              <a:srgbClr val="C8DE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Rectangle 68"/>
            <p:cNvSpPr>
              <a:spLocks noChangeArrowheads="1"/>
            </p:cNvSpPr>
            <p:nvPr/>
          </p:nvSpPr>
          <p:spPr bwMode="auto">
            <a:xfrm>
              <a:off x="646113" y="4296013"/>
              <a:ext cx="32416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Rectangle 69"/>
            <p:cNvSpPr>
              <a:spLocks noChangeArrowheads="1"/>
            </p:cNvSpPr>
            <p:nvPr/>
          </p:nvSpPr>
          <p:spPr bwMode="auto">
            <a:xfrm>
              <a:off x="631825" y="3578462"/>
              <a:ext cx="3255963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Rectangle 70"/>
            <p:cNvSpPr>
              <a:spLocks noChangeArrowheads="1"/>
            </p:cNvSpPr>
            <p:nvPr/>
          </p:nvSpPr>
          <p:spPr bwMode="auto">
            <a:xfrm>
              <a:off x="631825" y="3578462"/>
              <a:ext cx="3255963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Rectangle 71"/>
            <p:cNvSpPr>
              <a:spLocks noChangeArrowheads="1"/>
            </p:cNvSpPr>
            <p:nvPr/>
          </p:nvSpPr>
          <p:spPr bwMode="auto">
            <a:xfrm>
              <a:off x="631825" y="3937238"/>
              <a:ext cx="3255963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Rectangle 72"/>
            <p:cNvSpPr>
              <a:spLocks noChangeArrowheads="1"/>
            </p:cNvSpPr>
            <p:nvPr/>
          </p:nvSpPr>
          <p:spPr bwMode="auto">
            <a:xfrm>
              <a:off x="631825" y="3937238"/>
              <a:ext cx="3255963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Rectangle 73"/>
            <p:cNvSpPr>
              <a:spLocks noChangeArrowheads="1"/>
            </p:cNvSpPr>
            <p:nvPr/>
          </p:nvSpPr>
          <p:spPr bwMode="auto">
            <a:xfrm>
              <a:off x="631825" y="3157774"/>
              <a:ext cx="3255963" cy="14288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Rectangle 74"/>
            <p:cNvSpPr>
              <a:spLocks noChangeArrowheads="1"/>
            </p:cNvSpPr>
            <p:nvPr/>
          </p:nvSpPr>
          <p:spPr bwMode="auto">
            <a:xfrm>
              <a:off x="631825" y="3157774"/>
              <a:ext cx="3255963" cy="14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Rectangle 75"/>
            <p:cNvSpPr>
              <a:spLocks noChangeArrowheads="1"/>
            </p:cNvSpPr>
            <p:nvPr/>
          </p:nvSpPr>
          <p:spPr bwMode="auto">
            <a:xfrm>
              <a:off x="631825" y="2741849"/>
              <a:ext cx="3255963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Rectangle 76"/>
            <p:cNvSpPr>
              <a:spLocks noChangeArrowheads="1"/>
            </p:cNvSpPr>
            <p:nvPr/>
          </p:nvSpPr>
          <p:spPr bwMode="auto">
            <a:xfrm>
              <a:off x="631825" y="2741849"/>
              <a:ext cx="3255963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Rectangle 77"/>
            <p:cNvSpPr>
              <a:spLocks noChangeArrowheads="1"/>
            </p:cNvSpPr>
            <p:nvPr/>
          </p:nvSpPr>
          <p:spPr bwMode="auto">
            <a:xfrm>
              <a:off x="622300" y="4678601"/>
              <a:ext cx="3265488" cy="23813"/>
            </a:xfrm>
            <a:prstGeom prst="rect">
              <a:avLst/>
            </a:prstGeom>
            <a:solidFill>
              <a:srgbClr val="566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Rectangle 78"/>
            <p:cNvSpPr>
              <a:spLocks noChangeArrowheads="1"/>
            </p:cNvSpPr>
            <p:nvPr/>
          </p:nvSpPr>
          <p:spPr bwMode="auto">
            <a:xfrm>
              <a:off x="622300" y="2741849"/>
              <a:ext cx="23813" cy="1936752"/>
            </a:xfrm>
            <a:prstGeom prst="rect">
              <a:avLst/>
            </a:prstGeom>
            <a:solidFill>
              <a:srgbClr val="566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80"/>
            <p:cNvSpPr>
              <a:spLocks noEditPoints="1"/>
            </p:cNvSpPr>
            <p:nvPr/>
          </p:nvSpPr>
          <p:spPr bwMode="auto">
            <a:xfrm>
              <a:off x="4584701" y="4118213"/>
              <a:ext cx="3240088" cy="560388"/>
            </a:xfrm>
            <a:custGeom>
              <a:avLst/>
              <a:gdLst>
                <a:gd name="T0" fmla="*/ 2041 w 2041"/>
                <a:gd name="T1" fmla="*/ 118 h 353"/>
                <a:gd name="T2" fmla="*/ 0 w 2041"/>
                <a:gd name="T3" fmla="*/ 118 h 353"/>
                <a:gd name="T4" fmla="*/ 0 w 2041"/>
                <a:gd name="T5" fmla="*/ 353 h 353"/>
                <a:gd name="T6" fmla="*/ 2041 w 2041"/>
                <a:gd name="T7" fmla="*/ 353 h 353"/>
                <a:gd name="T8" fmla="*/ 2041 w 2041"/>
                <a:gd name="T9" fmla="*/ 118 h 353"/>
                <a:gd name="T10" fmla="*/ 2041 w 2041"/>
                <a:gd name="T11" fmla="*/ 0 h 353"/>
                <a:gd name="T12" fmla="*/ 0 w 2041"/>
                <a:gd name="T13" fmla="*/ 0 h 353"/>
                <a:gd name="T14" fmla="*/ 0 w 2041"/>
                <a:gd name="T15" fmla="*/ 112 h 353"/>
                <a:gd name="T16" fmla="*/ 2041 w 2041"/>
                <a:gd name="T17" fmla="*/ 112 h 353"/>
                <a:gd name="T18" fmla="*/ 2041 w 2041"/>
                <a:gd name="T19" fmla="*/ 0 h 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41" h="353">
                  <a:moveTo>
                    <a:pt x="2041" y="118"/>
                  </a:moveTo>
                  <a:lnTo>
                    <a:pt x="0" y="118"/>
                  </a:lnTo>
                  <a:lnTo>
                    <a:pt x="0" y="353"/>
                  </a:lnTo>
                  <a:lnTo>
                    <a:pt x="2041" y="353"/>
                  </a:lnTo>
                  <a:lnTo>
                    <a:pt x="2041" y="118"/>
                  </a:lnTo>
                  <a:moveTo>
                    <a:pt x="2041" y="0"/>
                  </a:moveTo>
                  <a:lnTo>
                    <a:pt x="0" y="0"/>
                  </a:lnTo>
                  <a:lnTo>
                    <a:pt x="0" y="112"/>
                  </a:lnTo>
                  <a:lnTo>
                    <a:pt x="2041" y="112"/>
                  </a:lnTo>
                  <a:lnTo>
                    <a:pt x="20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Rectangle 81"/>
            <p:cNvSpPr>
              <a:spLocks noChangeArrowheads="1"/>
            </p:cNvSpPr>
            <p:nvPr/>
          </p:nvSpPr>
          <p:spPr bwMode="auto">
            <a:xfrm>
              <a:off x="4570413" y="4296013"/>
              <a:ext cx="14288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Rectangle 82"/>
            <p:cNvSpPr>
              <a:spLocks noChangeArrowheads="1"/>
            </p:cNvSpPr>
            <p:nvPr/>
          </p:nvSpPr>
          <p:spPr bwMode="auto">
            <a:xfrm>
              <a:off x="4570413" y="4296013"/>
              <a:ext cx="14288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Rectangle 83"/>
            <p:cNvSpPr>
              <a:spLocks noChangeArrowheads="1"/>
            </p:cNvSpPr>
            <p:nvPr/>
          </p:nvSpPr>
          <p:spPr bwMode="auto">
            <a:xfrm>
              <a:off x="4584701" y="4296013"/>
              <a:ext cx="3240088" cy="9525"/>
            </a:xfrm>
            <a:prstGeom prst="rect">
              <a:avLst/>
            </a:prstGeom>
            <a:solidFill>
              <a:srgbClr val="C8DEE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Rectangle 84"/>
            <p:cNvSpPr>
              <a:spLocks noChangeArrowheads="1"/>
            </p:cNvSpPr>
            <p:nvPr/>
          </p:nvSpPr>
          <p:spPr bwMode="auto">
            <a:xfrm>
              <a:off x="4584701" y="4296013"/>
              <a:ext cx="3240088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85"/>
            <p:cNvSpPr>
              <a:spLocks noChangeArrowheads="1"/>
            </p:cNvSpPr>
            <p:nvPr/>
          </p:nvSpPr>
          <p:spPr bwMode="auto">
            <a:xfrm>
              <a:off x="4570413" y="3578462"/>
              <a:ext cx="3254375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Rectangle 86"/>
            <p:cNvSpPr>
              <a:spLocks noChangeArrowheads="1"/>
            </p:cNvSpPr>
            <p:nvPr/>
          </p:nvSpPr>
          <p:spPr bwMode="auto">
            <a:xfrm>
              <a:off x="4570413" y="3578462"/>
              <a:ext cx="32543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Rectangle 87"/>
            <p:cNvSpPr>
              <a:spLocks noChangeArrowheads="1"/>
            </p:cNvSpPr>
            <p:nvPr/>
          </p:nvSpPr>
          <p:spPr bwMode="auto">
            <a:xfrm>
              <a:off x="4570413" y="3937238"/>
              <a:ext cx="3254375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Rectangle 88"/>
            <p:cNvSpPr>
              <a:spLocks noChangeArrowheads="1"/>
            </p:cNvSpPr>
            <p:nvPr/>
          </p:nvSpPr>
          <p:spPr bwMode="auto">
            <a:xfrm>
              <a:off x="4570413" y="3937238"/>
              <a:ext cx="32543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Rectangle 89"/>
            <p:cNvSpPr>
              <a:spLocks noChangeArrowheads="1"/>
            </p:cNvSpPr>
            <p:nvPr/>
          </p:nvSpPr>
          <p:spPr bwMode="auto">
            <a:xfrm>
              <a:off x="4570413" y="3157774"/>
              <a:ext cx="3254375" cy="14288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Rectangle 90"/>
            <p:cNvSpPr>
              <a:spLocks noChangeArrowheads="1"/>
            </p:cNvSpPr>
            <p:nvPr/>
          </p:nvSpPr>
          <p:spPr bwMode="auto">
            <a:xfrm>
              <a:off x="4570413" y="3157774"/>
              <a:ext cx="3254375" cy="14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Rectangle 91"/>
            <p:cNvSpPr>
              <a:spLocks noChangeArrowheads="1"/>
            </p:cNvSpPr>
            <p:nvPr/>
          </p:nvSpPr>
          <p:spPr bwMode="auto">
            <a:xfrm>
              <a:off x="4570413" y="2741849"/>
              <a:ext cx="3254375" cy="9525"/>
            </a:xfrm>
            <a:prstGeom prst="rect">
              <a:avLst/>
            </a:prstGeom>
            <a:solidFill>
              <a:srgbClr val="DEE6E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3" name="Rectangle 92"/>
            <p:cNvSpPr>
              <a:spLocks noChangeArrowheads="1"/>
            </p:cNvSpPr>
            <p:nvPr/>
          </p:nvSpPr>
          <p:spPr bwMode="auto">
            <a:xfrm>
              <a:off x="4570413" y="2741849"/>
              <a:ext cx="3254375" cy="9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4" name="Rectangle 93"/>
            <p:cNvSpPr>
              <a:spLocks noChangeArrowheads="1"/>
            </p:cNvSpPr>
            <p:nvPr/>
          </p:nvSpPr>
          <p:spPr bwMode="auto">
            <a:xfrm>
              <a:off x="4560888" y="4678601"/>
              <a:ext cx="3263900" cy="23813"/>
            </a:xfrm>
            <a:prstGeom prst="rect">
              <a:avLst/>
            </a:prstGeom>
            <a:solidFill>
              <a:srgbClr val="566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5" name="Rectangle 94"/>
            <p:cNvSpPr>
              <a:spLocks noChangeArrowheads="1"/>
            </p:cNvSpPr>
            <p:nvPr/>
          </p:nvSpPr>
          <p:spPr bwMode="auto">
            <a:xfrm>
              <a:off x="4560888" y="2741849"/>
              <a:ext cx="23813" cy="1936752"/>
            </a:xfrm>
            <a:prstGeom prst="rect">
              <a:avLst/>
            </a:prstGeom>
            <a:solidFill>
              <a:srgbClr val="56656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6" name="Rectangle 98"/>
            <p:cNvSpPr>
              <a:spLocks noChangeArrowheads="1"/>
            </p:cNvSpPr>
            <p:nvPr/>
          </p:nvSpPr>
          <p:spPr bwMode="auto">
            <a:xfrm>
              <a:off x="4063999" y="3530838"/>
              <a:ext cx="304800" cy="325438"/>
            </a:xfrm>
            <a:custGeom>
              <a:avLst/>
              <a:gdLst/>
              <a:ahLst/>
              <a:cxnLst/>
              <a:rect l="l" t="t" r="r" b="b"/>
              <a:pathLst>
                <a:path w="304800" h="325438">
                  <a:moveTo>
                    <a:pt x="90488" y="0"/>
                  </a:moveTo>
                  <a:lnTo>
                    <a:pt x="214313" y="0"/>
                  </a:lnTo>
                  <a:lnTo>
                    <a:pt x="214313" y="171450"/>
                  </a:lnTo>
                  <a:lnTo>
                    <a:pt x="304800" y="171450"/>
                  </a:lnTo>
                  <a:lnTo>
                    <a:pt x="152400" y="325438"/>
                  </a:lnTo>
                  <a:lnTo>
                    <a:pt x="0" y="171450"/>
                  </a:lnTo>
                  <a:lnTo>
                    <a:pt x="90488" y="171450"/>
                  </a:lnTo>
                  <a:close/>
                </a:path>
              </a:pathLst>
            </a:custGeom>
            <a:solidFill>
              <a:srgbClr val="00737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7" name="Freeform 101"/>
            <p:cNvSpPr>
              <a:spLocks/>
            </p:cNvSpPr>
            <p:nvPr/>
          </p:nvSpPr>
          <p:spPr bwMode="auto">
            <a:xfrm>
              <a:off x="636588" y="2899012"/>
              <a:ext cx="3260725" cy="1233489"/>
            </a:xfrm>
            <a:custGeom>
              <a:avLst/>
              <a:gdLst>
                <a:gd name="T0" fmla="*/ 18 w 2054"/>
                <a:gd name="T1" fmla="*/ 567 h 777"/>
                <a:gd name="T2" fmla="*/ 138 w 2054"/>
                <a:gd name="T3" fmla="*/ 317 h 777"/>
                <a:gd name="T4" fmla="*/ 213 w 2054"/>
                <a:gd name="T5" fmla="*/ 235 h 777"/>
                <a:gd name="T6" fmla="*/ 259 w 2054"/>
                <a:gd name="T7" fmla="*/ 154 h 777"/>
                <a:gd name="T8" fmla="*/ 319 w 2054"/>
                <a:gd name="T9" fmla="*/ 55 h 777"/>
                <a:gd name="T10" fmla="*/ 391 w 2054"/>
                <a:gd name="T11" fmla="*/ 27 h 777"/>
                <a:gd name="T12" fmla="*/ 451 w 2054"/>
                <a:gd name="T13" fmla="*/ 73 h 777"/>
                <a:gd name="T14" fmla="*/ 478 w 2054"/>
                <a:gd name="T15" fmla="*/ 70 h 777"/>
                <a:gd name="T16" fmla="*/ 577 w 2054"/>
                <a:gd name="T17" fmla="*/ 290 h 777"/>
                <a:gd name="T18" fmla="*/ 640 w 2054"/>
                <a:gd name="T19" fmla="*/ 377 h 777"/>
                <a:gd name="T20" fmla="*/ 680 w 2054"/>
                <a:gd name="T21" fmla="*/ 413 h 777"/>
                <a:gd name="T22" fmla="*/ 689 w 2054"/>
                <a:gd name="T23" fmla="*/ 518 h 777"/>
                <a:gd name="T24" fmla="*/ 788 w 2054"/>
                <a:gd name="T25" fmla="*/ 687 h 777"/>
                <a:gd name="T26" fmla="*/ 884 w 2054"/>
                <a:gd name="T27" fmla="*/ 744 h 777"/>
                <a:gd name="T28" fmla="*/ 914 w 2054"/>
                <a:gd name="T29" fmla="*/ 777 h 777"/>
                <a:gd name="T30" fmla="*/ 992 w 2054"/>
                <a:gd name="T31" fmla="*/ 747 h 777"/>
                <a:gd name="T32" fmla="*/ 1082 w 2054"/>
                <a:gd name="T33" fmla="*/ 564 h 777"/>
                <a:gd name="T34" fmla="*/ 1143 w 2054"/>
                <a:gd name="T35" fmla="*/ 461 h 777"/>
                <a:gd name="T36" fmla="*/ 1272 w 2054"/>
                <a:gd name="T37" fmla="*/ 311 h 777"/>
                <a:gd name="T38" fmla="*/ 1395 w 2054"/>
                <a:gd name="T39" fmla="*/ 169 h 777"/>
                <a:gd name="T40" fmla="*/ 1488 w 2054"/>
                <a:gd name="T41" fmla="*/ 52 h 777"/>
                <a:gd name="T42" fmla="*/ 1555 w 2054"/>
                <a:gd name="T43" fmla="*/ 24 h 777"/>
                <a:gd name="T44" fmla="*/ 1612 w 2054"/>
                <a:gd name="T45" fmla="*/ 112 h 777"/>
                <a:gd name="T46" fmla="*/ 1675 w 2054"/>
                <a:gd name="T47" fmla="*/ 314 h 777"/>
                <a:gd name="T48" fmla="*/ 1732 w 2054"/>
                <a:gd name="T49" fmla="*/ 440 h 777"/>
                <a:gd name="T50" fmla="*/ 1810 w 2054"/>
                <a:gd name="T51" fmla="*/ 564 h 777"/>
                <a:gd name="T52" fmla="*/ 1864 w 2054"/>
                <a:gd name="T53" fmla="*/ 666 h 777"/>
                <a:gd name="T54" fmla="*/ 1961 w 2054"/>
                <a:gd name="T55" fmla="*/ 768 h 777"/>
                <a:gd name="T56" fmla="*/ 1988 w 2054"/>
                <a:gd name="T57" fmla="*/ 705 h 777"/>
                <a:gd name="T58" fmla="*/ 2054 w 2054"/>
                <a:gd name="T59" fmla="*/ 630 h 777"/>
                <a:gd name="T60" fmla="*/ 2036 w 2054"/>
                <a:gd name="T61" fmla="*/ 618 h 777"/>
                <a:gd name="T62" fmla="*/ 1973 w 2054"/>
                <a:gd name="T63" fmla="*/ 693 h 777"/>
                <a:gd name="T64" fmla="*/ 1954 w 2054"/>
                <a:gd name="T65" fmla="*/ 732 h 777"/>
                <a:gd name="T66" fmla="*/ 1879 w 2054"/>
                <a:gd name="T67" fmla="*/ 654 h 777"/>
                <a:gd name="T68" fmla="*/ 1828 w 2054"/>
                <a:gd name="T69" fmla="*/ 555 h 777"/>
                <a:gd name="T70" fmla="*/ 1750 w 2054"/>
                <a:gd name="T71" fmla="*/ 428 h 777"/>
                <a:gd name="T72" fmla="*/ 1693 w 2054"/>
                <a:gd name="T73" fmla="*/ 305 h 777"/>
                <a:gd name="T74" fmla="*/ 1630 w 2054"/>
                <a:gd name="T75" fmla="*/ 103 h 777"/>
                <a:gd name="T76" fmla="*/ 1564 w 2054"/>
                <a:gd name="T77" fmla="*/ 0 h 777"/>
                <a:gd name="T78" fmla="*/ 1476 w 2054"/>
                <a:gd name="T79" fmla="*/ 33 h 777"/>
                <a:gd name="T80" fmla="*/ 1380 w 2054"/>
                <a:gd name="T81" fmla="*/ 157 h 777"/>
                <a:gd name="T82" fmla="*/ 1254 w 2054"/>
                <a:gd name="T83" fmla="*/ 296 h 777"/>
                <a:gd name="T84" fmla="*/ 1128 w 2054"/>
                <a:gd name="T85" fmla="*/ 449 h 777"/>
                <a:gd name="T86" fmla="*/ 1064 w 2054"/>
                <a:gd name="T87" fmla="*/ 555 h 777"/>
                <a:gd name="T88" fmla="*/ 980 w 2054"/>
                <a:gd name="T89" fmla="*/ 732 h 777"/>
                <a:gd name="T90" fmla="*/ 920 w 2054"/>
                <a:gd name="T91" fmla="*/ 753 h 777"/>
                <a:gd name="T92" fmla="*/ 896 w 2054"/>
                <a:gd name="T93" fmla="*/ 726 h 777"/>
                <a:gd name="T94" fmla="*/ 800 w 2054"/>
                <a:gd name="T95" fmla="*/ 672 h 777"/>
                <a:gd name="T96" fmla="*/ 707 w 2054"/>
                <a:gd name="T97" fmla="*/ 512 h 777"/>
                <a:gd name="T98" fmla="*/ 701 w 2054"/>
                <a:gd name="T99" fmla="*/ 404 h 777"/>
                <a:gd name="T100" fmla="*/ 658 w 2054"/>
                <a:gd name="T101" fmla="*/ 362 h 777"/>
                <a:gd name="T102" fmla="*/ 595 w 2054"/>
                <a:gd name="T103" fmla="*/ 277 h 777"/>
                <a:gd name="T104" fmla="*/ 490 w 2054"/>
                <a:gd name="T105" fmla="*/ 46 h 777"/>
                <a:gd name="T106" fmla="*/ 457 w 2054"/>
                <a:gd name="T107" fmla="*/ 52 h 777"/>
                <a:gd name="T108" fmla="*/ 394 w 2054"/>
                <a:gd name="T109" fmla="*/ 6 h 777"/>
                <a:gd name="T110" fmla="*/ 307 w 2054"/>
                <a:gd name="T111" fmla="*/ 40 h 777"/>
                <a:gd name="T112" fmla="*/ 241 w 2054"/>
                <a:gd name="T113" fmla="*/ 142 h 777"/>
                <a:gd name="T114" fmla="*/ 198 w 2054"/>
                <a:gd name="T115" fmla="*/ 226 h 777"/>
                <a:gd name="T116" fmla="*/ 123 w 2054"/>
                <a:gd name="T117" fmla="*/ 305 h 777"/>
                <a:gd name="T118" fmla="*/ 0 w 2054"/>
                <a:gd name="T119" fmla="*/ 558 h 777"/>
                <a:gd name="T120" fmla="*/ 18 w 2054"/>
                <a:gd name="T121" fmla="*/ 567 h 777"/>
                <a:gd name="T122" fmla="*/ 18 w 2054"/>
                <a:gd name="T123" fmla="*/ 567 h 7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54" h="777">
                  <a:moveTo>
                    <a:pt x="18" y="567"/>
                  </a:moveTo>
                  <a:lnTo>
                    <a:pt x="138" y="317"/>
                  </a:lnTo>
                  <a:lnTo>
                    <a:pt x="213" y="235"/>
                  </a:lnTo>
                  <a:lnTo>
                    <a:pt x="259" y="154"/>
                  </a:lnTo>
                  <a:lnTo>
                    <a:pt x="319" y="55"/>
                  </a:lnTo>
                  <a:lnTo>
                    <a:pt x="391" y="27"/>
                  </a:lnTo>
                  <a:lnTo>
                    <a:pt x="451" y="73"/>
                  </a:lnTo>
                  <a:lnTo>
                    <a:pt x="478" y="70"/>
                  </a:lnTo>
                  <a:lnTo>
                    <a:pt x="577" y="290"/>
                  </a:lnTo>
                  <a:lnTo>
                    <a:pt x="640" y="377"/>
                  </a:lnTo>
                  <a:lnTo>
                    <a:pt x="680" y="413"/>
                  </a:lnTo>
                  <a:lnTo>
                    <a:pt x="689" y="518"/>
                  </a:lnTo>
                  <a:lnTo>
                    <a:pt x="788" y="687"/>
                  </a:lnTo>
                  <a:lnTo>
                    <a:pt x="884" y="744"/>
                  </a:lnTo>
                  <a:lnTo>
                    <a:pt x="914" y="777"/>
                  </a:lnTo>
                  <a:lnTo>
                    <a:pt x="992" y="747"/>
                  </a:lnTo>
                  <a:lnTo>
                    <a:pt x="1082" y="564"/>
                  </a:lnTo>
                  <a:lnTo>
                    <a:pt x="1143" y="461"/>
                  </a:lnTo>
                  <a:lnTo>
                    <a:pt x="1272" y="311"/>
                  </a:lnTo>
                  <a:lnTo>
                    <a:pt x="1395" y="169"/>
                  </a:lnTo>
                  <a:lnTo>
                    <a:pt x="1488" y="52"/>
                  </a:lnTo>
                  <a:lnTo>
                    <a:pt x="1555" y="24"/>
                  </a:lnTo>
                  <a:lnTo>
                    <a:pt x="1612" y="112"/>
                  </a:lnTo>
                  <a:lnTo>
                    <a:pt x="1675" y="314"/>
                  </a:lnTo>
                  <a:lnTo>
                    <a:pt x="1732" y="440"/>
                  </a:lnTo>
                  <a:lnTo>
                    <a:pt x="1810" y="564"/>
                  </a:lnTo>
                  <a:lnTo>
                    <a:pt x="1864" y="666"/>
                  </a:lnTo>
                  <a:lnTo>
                    <a:pt x="1961" y="768"/>
                  </a:lnTo>
                  <a:lnTo>
                    <a:pt x="1988" y="705"/>
                  </a:lnTo>
                  <a:lnTo>
                    <a:pt x="2054" y="630"/>
                  </a:lnTo>
                  <a:lnTo>
                    <a:pt x="2036" y="618"/>
                  </a:lnTo>
                  <a:lnTo>
                    <a:pt x="1973" y="693"/>
                  </a:lnTo>
                  <a:lnTo>
                    <a:pt x="1954" y="732"/>
                  </a:lnTo>
                  <a:lnTo>
                    <a:pt x="1879" y="654"/>
                  </a:lnTo>
                  <a:lnTo>
                    <a:pt x="1828" y="555"/>
                  </a:lnTo>
                  <a:lnTo>
                    <a:pt x="1750" y="428"/>
                  </a:lnTo>
                  <a:lnTo>
                    <a:pt x="1693" y="305"/>
                  </a:lnTo>
                  <a:lnTo>
                    <a:pt x="1630" y="103"/>
                  </a:lnTo>
                  <a:lnTo>
                    <a:pt x="1564" y="0"/>
                  </a:lnTo>
                  <a:lnTo>
                    <a:pt x="1476" y="33"/>
                  </a:lnTo>
                  <a:lnTo>
                    <a:pt x="1380" y="157"/>
                  </a:lnTo>
                  <a:lnTo>
                    <a:pt x="1254" y="296"/>
                  </a:lnTo>
                  <a:lnTo>
                    <a:pt x="1128" y="449"/>
                  </a:lnTo>
                  <a:lnTo>
                    <a:pt x="1064" y="555"/>
                  </a:lnTo>
                  <a:lnTo>
                    <a:pt x="980" y="732"/>
                  </a:lnTo>
                  <a:lnTo>
                    <a:pt x="920" y="753"/>
                  </a:lnTo>
                  <a:lnTo>
                    <a:pt x="896" y="726"/>
                  </a:lnTo>
                  <a:lnTo>
                    <a:pt x="800" y="672"/>
                  </a:lnTo>
                  <a:lnTo>
                    <a:pt x="707" y="512"/>
                  </a:lnTo>
                  <a:lnTo>
                    <a:pt x="701" y="404"/>
                  </a:lnTo>
                  <a:lnTo>
                    <a:pt x="658" y="362"/>
                  </a:lnTo>
                  <a:lnTo>
                    <a:pt x="595" y="277"/>
                  </a:lnTo>
                  <a:lnTo>
                    <a:pt x="490" y="46"/>
                  </a:lnTo>
                  <a:lnTo>
                    <a:pt x="457" y="52"/>
                  </a:lnTo>
                  <a:lnTo>
                    <a:pt x="394" y="6"/>
                  </a:lnTo>
                  <a:lnTo>
                    <a:pt x="307" y="40"/>
                  </a:lnTo>
                  <a:lnTo>
                    <a:pt x="241" y="142"/>
                  </a:lnTo>
                  <a:lnTo>
                    <a:pt x="198" y="226"/>
                  </a:lnTo>
                  <a:lnTo>
                    <a:pt x="123" y="305"/>
                  </a:lnTo>
                  <a:lnTo>
                    <a:pt x="0" y="558"/>
                  </a:lnTo>
                  <a:lnTo>
                    <a:pt x="18" y="567"/>
                  </a:lnTo>
                  <a:lnTo>
                    <a:pt x="18" y="567"/>
                  </a:lnTo>
                  <a:close/>
                </a:path>
              </a:pathLst>
            </a:custGeom>
            <a:solidFill>
              <a:srgbClr val="239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8" name="Freeform 102"/>
            <p:cNvSpPr>
              <a:spLocks/>
            </p:cNvSpPr>
            <p:nvPr/>
          </p:nvSpPr>
          <p:spPr bwMode="auto">
            <a:xfrm>
              <a:off x="4570413" y="3526075"/>
              <a:ext cx="3244850" cy="601663"/>
            </a:xfrm>
            <a:custGeom>
              <a:avLst/>
              <a:gdLst>
                <a:gd name="T0" fmla="*/ 12 w 2044"/>
                <a:gd name="T1" fmla="*/ 280 h 379"/>
                <a:gd name="T2" fmla="*/ 132 w 2044"/>
                <a:gd name="T3" fmla="*/ 163 h 379"/>
                <a:gd name="T4" fmla="*/ 207 w 2044"/>
                <a:gd name="T5" fmla="*/ 123 h 379"/>
                <a:gd name="T6" fmla="*/ 249 w 2044"/>
                <a:gd name="T7" fmla="*/ 84 h 379"/>
                <a:gd name="T8" fmla="*/ 312 w 2044"/>
                <a:gd name="T9" fmla="*/ 36 h 379"/>
                <a:gd name="T10" fmla="*/ 388 w 2044"/>
                <a:gd name="T11" fmla="*/ 24 h 379"/>
                <a:gd name="T12" fmla="*/ 448 w 2044"/>
                <a:gd name="T13" fmla="*/ 45 h 379"/>
                <a:gd name="T14" fmla="*/ 478 w 2044"/>
                <a:gd name="T15" fmla="*/ 42 h 379"/>
                <a:gd name="T16" fmla="*/ 574 w 2044"/>
                <a:gd name="T17" fmla="*/ 148 h 379"/>
                <a:gd name="T18" fmla="*/ 640 w 2044"/>
                <a:gd name="T19" fmla="*/ 190 h 379"/>
                <a:gd name="T20" fmla="*/ 676 w 2044"/>
                <a:gd name="T21" fmla="*/ 208 h 379"/>
                <a:gd name="T22" fmla="*/ 685 w 2044"/>
                <a:gd name="T23" fmla="*/ 256 h 379"/>
                <a:gd name="T24" fmla="*/ 785 w 2044"/>
                <a:gd name="T25" fmla="*/ 340 h 379"/>
                <a:gd name="T26" fmla="*/ 881 w 2044"/>
                <a:gd name="T27" fmla="*/ 364 h 379"/>
                <a:gd name="T28" fmla="*/ 911 w 2044"/>
                <a:gd name="T29" fmla="*/ 379 h 379"/>
                <a:gd name="T30" fmla="*/ 986 w 2044"/>
                <a:gd name="T31" fmla="*/ 367 h 379"/>
                <a:gd name="T32" fmla="*/ 1076 w 2044"/>
                <a:gd name="T33" fmla="*/ 280 h 379"/>
                <a:gd name="T34" fmla="*/ 1136 w 2044"/>
                <a:gd name="T35" fmla="*/ 229 h 379"/>
                <a:gd name="T36" fmla="*/ 1263 w 2044"/>
                <a:gd name="T37" fmla="*/ 160 h 379"/>
                <a:gd name="T38" fmla="*/ 1389 w 2044"/>
                <a:gd name="T39" fmla="*/ 90 h 379"/>
                <a:gd name="T40" fmla="*/ 1482 w 2044"/>
                <a:gd name="T41" fmla="*/ 36 h 379"/>
                <a:gd name="T42" fmla="*/ 1554 w 2044"/>
                <a:gd name="T43" fmla="*/ 21 h 379"/>
                <a:gd name="T44" fmla="*/ 1608 w 2044"/>
                <a:gd name="T45" fmla="*/ 63 h 379"/>
                <a:gd name="T46" fmla="*/ 1672 w 2044"/>
                <a:gd name="T47" fmla="*/ 160 h 379"/>
                <a:gd name="T48" fmla="*/ 1729 w 2044"/>
                <a:gd name="T49" fmla="*/ 220 h 379"/>
                <a:gd name="T50" fmla="*/ 1810 w 2044"/>
                <a:gd name="T51" fmla="*/ 280 h 379"/>
                <a:gd name="T52" fmla="*/ 1861 w 2044"/>
                <a:gd name="T53" fmla="*/ 328 h 379"/>
                <a:gd name="T54" fmla="*/ 1954 w 2044"/>
                <a:gd name="T55" fmla="*/ 376 h 379"/>
                <a:gd name="T56" fmla="*/ 1981 w 2044"/>
                <a:gd name="T57" fmla="*/ 346 h 379"/>
                <a:gd name="T58" fmla="*/ 2044 w 2044"/>
                <a:gd name="T59" fmla="*/ 313 h 379"/>
                <a:gd name="T60" fmla="*/ 2035 w 2044"/>
                <a:gd name="T61" fmla="*/ 295 h 379"/>
                <a:gd name="T62" fmla="*/ 1969 w 2044"/>
                <a:gd name="T63" fmla="*/ 331 h 379"/>
                <a:gd name="T64" fmla="*/ 1951 w 2044"/>
                <a:gd name="T65" fmla="*/ 352 h 379"/>
                <a:gd name="T66" fmla="*/ 1873 w 2044"/>
                <a:gd name="T67" fmla="*/ 313 h 379"/>
                <a:gd name="T68" fmla="*/ 1822 w 2044"/>
                <a:gd name="T69" fmla="*/ 265 h 379"/>
                <a:gd name="T70" fmla="*/ 1744 w 2044"/>
                <a:gd name="T71" fmla="*/ 205 h 379"/>
                <a:gd name="T72" fmla="*/ 1687 w 2044"/>
                <a:gd name="T73" fmla="*/ 148 h 379"/>
                <a:gd name="T74" fmla="*/ 1623 w 2044"/>
                <a:gd name="T75" fmla="*/ 48 h 379"/>
                <a:gd name="T76" fmla="*/ 1557 w 2044"/>
                <a:gd name="T77" fmla="*/ 0 h 379"/>
                <a:gd name="T78" fmla="*/ 1476 w 2044"/>
                <a:gd name="T79" fmla="*/ 15 h 379"/>
                <a:gd name="T80" fmla="*/ 1377 w 2044"/>
                <a:gd name="T81" fmla="*/ 75 h 379"/>
                <a:gd name="T82" fmla="*/ 1254 w 2044"/>
                <a:gd name="T83" fmla="*/ 141 h 379"/>
                <a:gd name="T84" fmla="*/ 1124 w 2044"/>
                <a:gd name="T85" fmla="*/ 214 h 379"/>
                <a:gd name="T86" fmla="*/ 1064 w 2044"/>
                <a:gd name="T87" fmla="*/ 265 h 379"/>
                <a:gd name="T88" fmla="*/ 977 w 2044"/>
                <a:gd name="T89" fmla="*/ 349 h 379"/>
                <a:gd name="T90" fmla="*/ 917 w 2044"/>
                <a:gd name="T91" fmla="*/ 361 h 379"/>
                <a:gd name="T92" fmla="*/ 890 w 2044"/>
                <a:gd name="T93" fmla="*/ 346 h 379"/>
                <a:gd name="T94" fmla="*/ 794 w 2044"/>
                <a:gd name="T95" fmla="*/ 319 h 379"/>
                <a:gd name="T96" fmla="*/ 703 w 2044"/>
                <a:gd name="T97" fmla="*/ 244 h 379"/>
                <a:gd name="T98" fmla="*/ 694 w 2044"/>
                <a:gd name="T99" fmla="*/ 193 h 379"/>
                <a:gd name="T100" fmla="*/ 649 w 2044"/>
                <a:gd name="T101" fmla="*/ 172 h 379"/>
                <a:gd name="T102" fmla="*/ 586 w 2044"/>
                <a:gd name="T103" fmla="*/ 132 h 379"/>
                <a:gd name="T104" fmla="*/ 484 w 2044"/>
                <a:gd name="T105" fmla="*/ 21 h 379"/>
                <a:gd name="T106" fmla="*/ 451 w 2044"/>
                <a:gd name="T107" fmla="*/ 24 h 379"/>
                <a:gd name="T108" fmla="*/ 391 w 2044"/>
                <a:gd name="T109" fmla="*/ 3 h 379"/>
                <a:gd name="T110" fmla="*/ 303 w 2044"/>
                <a:gd name="T111" fmla="*/ 18 h 379"/>
                <a:gd name="T112" fmla="*/ 237 w 2044"/>
                <a:gd name="T113" fmla="*/ 69 h 379"/>
                <a:gd name="T114" fmla="*/ 195 w 2044"/>
                <a:gd name="T115" fmla="*/ 108 h 379"/>
                <a:gd name="T116" fmla="*/ 120 w 2044"/>
                <a:gd name="T117" fmla="*/ 145 h 379"/>
                <a:gd name="T118" fmla="*/ 0 w 2044"/>
                <a:gd name="T119" fmla="*/ 265 h 379"/>
                <a:gd name="T120" fmla="*/ 12 w 2044"/>
                <a:gd name="T121" fmla="*/ 280 h 379"/>
                <a:gd name="T122" fmla="*/ 12 w 2044"/>
                <a:gd name="T123" fmla="*/ 28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044" h="379">
                  <a:moveTo>
                    <a:pt x="12" y="280"/>
                  </a:moveTo>
                  <a:lnTo>
                    <a:pt x="132" y="163"/>
                  </a:lnTo>
                  <a:lnTo>
                    <a:pt x="207" y="123"/>
                  </a:lnTo>
                  <a:lnTo>
                    <a:pt x="249" y="84"/>
                  </a:lnTo>
                  <a:lnTo>
                    <a:pt x="312" y="36"/>
                  </a:lnTo>
                  <a:lnTo>
                    <a:pt x="388" y="24"/>
                  </a:lnTo>
                  <a:lnTo>
                    <a:pt x="448" y="45"/>
                  </a:lnTo>
                  <a:lnTo>
                    <a:pt x="478" y="42"/>
                  </a:lnTo>
                  <a:lnTo>
                    <a:pt x="574" y="148"/>
                  </a:lnTo>
                  <a:lnTo>
                    <a:pt x="640" y="190"/>
                  </a:lnTo>
                  <a:lnTo>
                    <a:pt x="676" y="208"/>
                  </a:lnTo>
                  <a:lnTo>
                    <a:pt x="685" y="256"/>
                  </a:lnTo>
                  <a:lnTo>
                    <a:pt x="785" y="340"/>
                  </a:lnTo>
                  <a:lnTo>
                    <a:pt x="881" y="364"/>
                  </a:lnTo>
                  <a:lnTo>
                    <a:pt x="911" y="379"/>
                  </a:lnTo>
                  <a:lnTo>
                    <a:pt x="986" y="367"/>
                  </a:lnTo>
                  <a:lnTo>
                    <a:pt x="1076" y="280"/>
                  </a:lnTo>
                  <a:lnTo>
                    <a:pt x="1136" y="229"/>
                  </a:lnTo>
                  <a:lnTo>
                    <a:pt x="1263" y="160"/>
                  </a:lnTo>
                  <a:lnTo>
                    <a:pt x="1389" y="90"/>
                  </a:lnTo>
                  <a:lnTo>
                    <a:pt x="1482" y="36"/>
                  </a:lnTo>
                  <a:lnTo>
                    <a:pt x="1554" y="21"/>
                  </a:lnTo>
                  <a:lnTo>
                    <a:pt x="1608" y="63"/>
                  </a:lnTo>
                  <a:lnTo>
                    <a:pt x="1672" y="160"/>
                  </a:lnTo>
                  <a:lnTo>
                    <a:pt x="1729" y="220"/>
                  </a:lnTo>
                  <a:lnTo>
                    <a:pt x="1810" y="280"/>
                  </a:lnTo>
                  <a:lnTo>
                    <a:pt x="1861" y="328"/>
                  </a:lnTo>
                  <a:lnTo>
                    <a:pt x="1954" y="376"/>
                  </a:lnTo>
                  <a:lnTo>
                    <a:pt x="1981" y="346"/>
                  </a:lnTo>
                  <a:lnTo>
                    <a:pt x="2044" y="313"/>
                  </a:lnTo>
                  <a:lnTo>
                    <a:pt x="2035" y="295"/>
                  </a:lnTo>
                  <a:lnTo>
                    <a:pt x="1969" y="331"/>
                  </a:lnTo>
                  <a:lnTo>
                    <a:pt x="1951" y="352"/>
                  </a:lnTo>
                  <a:lnTo>
                    <a:pt x="1873" y="313"/>
                  </a:lnTo>
                  <a:lnTo>
                    <a:pt x="1822" y="265"/>
                  </a:lnTo>
                  <a:lnTo>
                    <a:pt x="1744" y="205"/>
                  </a:lnTo>
                  <a:lnTo>
                    <a:pt x="1687" y="148"/>
                  </a:lnTo>
                  <a:lnTo>
                    <a:pt x="1623" y="48"/>
                  </a:lnTo>
                  <a:lnTo>
                    <a:pt x="1557" y="0"/>
                  </a:lnTo>
                  <a:lnTo>
                    <a:pt x="1476" y="15"/>
                  </a:lnTo>
                  <a:lnTo>
                    <a:pt x="1377" y="75"/>
                  </a:lnTo>
                  <a:lnTo>
                    <a:pt x="1254" y="141"/>
                  </a:lnTo>
                  <a:lnTo>
                    <a:pt x="1124" y="214"/>
                  </a:lnTo>
                  <a:lnTo>
                    <a:pt x="1064" y="265"/>
                  </a:lnTo>
                  <a:lnTo>
                    <a:pt x="977" y="349"/>
                  </a:lnTo>
                  <a:lnTo>
                    <a:pt x="917" y="361"/>
                  </a:lnTo>
                  <a:lnTo>
                    <a:pt x="890" y="346"/>
                  </a:lnTo>
                  <a:lnTo>
                    <a:pt x="794" y="319"/>
                  </a:lnTo>
                  <a:lnTo>
                    <a:pt x="703" y="244"/>
                  </a:lnTo>
                  <a:lnTo>
                    <a:pt x="694" y="193"/>
                  </a:lnTo>
                  <a:lnTo>
                    <a:pt x="649" y="172"/>
                  </a:lnTo>
                  <a:lnTo>
                    <a:pt x="586" y="132"/>
                  </a:lnTo>
                  <a:lnTo>
                    <a:pt x="484" y="21"/>
                  </a:lnTo>
                  <a:lnTo>
                    <a:pt x="451" y="24"/>
                  </a:lnTo>
                  <a:lnTo>
                    <a:pt x="391" y="3"/>
                  </a:lnTo>
                  <a:lnTo>
                    <a:pt x="303" y="18"/>
                  </a:lnTo>
                  <a:lnTo>
                    <a:pt x="237" y="69"/>
                  </a:lnTo>
                  <a:lnTo>
                    <a:pt x="195" y="108"/>
                  </a:lnTo>
                  <a:lnTo>
                    <a:pt x="120" y="145"/>
                  </a:lnTo>
                  <a:lnTo>
                    <a:pt x="0" y="265"/>
                  </a:lnTo>
                  <a:lnTo>
                    <a:pt x="12" y="280"/>
                  </a:lnTo>
                  <a:lnTo>
                    <a:pt x="12" y="280"/>
                  </a:lnTo>
                  <a:close/>
                </a:path>
              </a:pathLst>
            </a:custGeom>
            <a:solidFill>
              <a:srgbClr val="239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9" name="Freeform 104"/>
            <p:cNvSpPr>
              <a:spLocks/>
            </p:cNvSpPr>
            <p:nvPr/>
          </p:nvSpPr>
          <p:spPr bwMode="auto">
            <a:xfrm>
              <a:off x="631825" y="3507025"/>
              <a:ext cx="3948113" cy="38100"/>
            </a:xfrm>
            <a:custGeom>
              <a:avLst/>
              <a:gdLst>
                <a:gd name="T0" fmla="*/ 0 w 2487"/>
                <a:gd name="T1" fmla="*/ 24 h 24"/>
                <a:gd name="T2" fmla="*/ 2487 w 2487"/>
                <a:gd name="T3" fmla="*/ 18 h 24"/>
                <a:gd name="T4" fmla="*/ 2487 w 2487"/>
                <a:gd name="T5" fmla="*/ 0 h 24"/>
                <a:gd name="T6" fmla="*/ 0 w 2487"/>
                <a:gd name="T7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87" h="24">
                  <a:moveTo>
                    <a:pt x="0" y="24"/>
                  </a:moveTo>
                  <a:lnTo>
                    <a:pt x="2487" y="18"/>
                  </a:lnTo>
                  <a:lnTo>
                    <a:pt x="2487" y="0"/>
                  </a:lnTo>
                  <a:lnTo>
                    <a:pt x="0" y="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cxnSp>
          <p:nvCxnSpPr>
            <p:cNvPr id="220" name="Gerade Verbindung 9304"/>
            <p:cNvCxnSpPr/>
            <p:nvPr/>
          </p:nvCxnSpPr>
          <p:spPr bwMode="auto">
            <a:xfrm flipV="1">
              <a:off x="3916363" y="3863417"/>
              <a:ext cx="3894138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3C464B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1" name="Gerade Verbindung 121"/>
            <p:cNvCxnSpPr/>
            <p:nvPr/>
          </p:nvCxnSpPr>
          <p:spPr bwMode="auto">
            <a:xfrm flipV="1">
              <a:off x="622300" y="3522900"/>
              <a:ext cx="3960000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AF235F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22" name="Textfeld 122"/>
            <p:cNvSpPr txBox="1"/>
            <p:nvPr/>
          </p:nvSpPr>
          <p:spPr>
            <a:xfrm>
              <a:off x="664544" y="2494164"/>
              <a:ext cx="895203" cy="3879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ru-RU" sz="1000" dirty="0" smtClean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Комнатная </a:t>
              </a:r>
            </a:p>
            <a:p>
              <a:pPr>
                <a:lnSpc>
                  <a:spcPct val="110000"/>
                </a:lnSpc>
                <a:spcBef>
                  <a:spcPts val="0"/>
                </a:spcBef>
              </a:pPr>
              <a:r>
                <a:rPr lang="ru-RU" sz="1000" dirty="0" smtClean="0">
                  <a:solidFill>
                    <a:srgbClr val="9BAFBE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температура</a:t>
              </a:r>
              <a:endParaRPr lang="en-US" sz="1000" dirty="0" smtClean="0">
                <a:solidFill>
                  <a:srgbClr val="9BAFB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4" name="Textfeld 124"/>
            <p:cNvSpPr txBox="1"/>
            <p:nvPr/>
          </p:nvSpPr>
          <p:spPr>
            <a:xfrm>
              <a:off x="1445020" y="4294309"/>
              <a:ext cx="1643865" cy="2234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ru-RU" sz="1200" b="1" dirty="0" smtClean="0">
                  <a:solidFill>
                    <a:srgbClr val="4BB9B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Слишком холодно</a:t>
              </a:r>
              <a:endParaRPr lang="en-US" sz="1200" b="1" dirty="0" smtClean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  <p:sp>
          <p:nvSpPr>
            <p:cNvPr id="225" name="Textfeld 125"/>
            <p:cNvSpPr txBox="1"/>
            <p:nvPr/>
          </p:nvSpPr>
          <p:spPr>
            <a:xfrm>
              <a:off x="5382815" y="4294309"/>
              <a:ext cx="1643865" cy="223460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</a:pPr>
              <a:r>
                <a:rPr lang="ru-RU" sz="1200" b="1" dirty="0" smtClean="0">
                  <a:solidFill>
                    <a:srgbClr val="4BB9B9"/>
                  </a:solidFill>
                  <a:latin typeface="+mn-lt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Слишком холодно</a:t>
              </a:r>
              <a:endParaRPr lang="en-US" sz="1200" b="1" dirty="0" smtClean="0">
                <a:solidFill>
                  <a:srgbClr val="4BB9B9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</p:txBody>
        </p:sp>
      </p:grpSp>
      <p:grpSp>
        <p:nvGrpSpPr>
          <p:cNvPr id="226" name="Gruppieren 9306"/>
          <p:cNvGrpSpPr/>
          <p:nvPr/>
        </p:nvGrpSpPr>
        <p:grpSpPr>
          <a:xfrm>
            <a:off x="6524626" y="4334534"/>
            <a:ext cx="3413125" cy="1984377"/>
            <a:chOff x="8231189" y="2741849"/>
            <a:chExt cx="3413125" cy="1984377"/>
          </a:xfrm>
        </p:grpSpPr>
        <p:sp>
          <p:nvSpPr>
            <p:cNvPr id="227" name="Freeform 97"/>
            <p:cNvSpPr>
              <a:spLocks/>
            </p:cNvSpPr>
            <p:nvPr/>
          </p:nvSpPr>
          <p:spPr bwMode="auto">
            <a:xfrm>
              <a:off x="8231189" y="3430825"/>
              <a:ext cx="511175" cy="620713"/>
            </a:xfrm>
            <a:custGeom>
              <a:avLst/>
              <a:gdLst/>
              <a:ahLst/>
              <a:cxnLst/>
              <a:rect l="l" t="t" r="r" b="b"/>
              <a:pathLst>
                <a:path w="511175" h="620713">
                  <a:moveTo>
                    <a:pt x="200025" y="0"/>
                  </a:moveTo>
                  <a:lnTo>
                    <a:pt x="511175" y="309563"/>
                  </a:lnTo>
                  <a:lnTo>
                    <a:pt x="200025" y="620713"/>
                  </a:lnTo>
                  <a:lnTo>
                    <a:pt x="200025" y="439738"/>
                  </a:lnTo>
                  <a:lnTo>
                    <a:pt x="0" y="439738"/>
                  </a:lnTo>
                  <a:lnTo>
                    <a:pt x="0" y="180975"/>
                  </a:lnTo>
                  <a:lnTo>
                    <a:pt x="200025" y="180975"/>
                  </a:lnTo>
                  <a:close/>
                </a:path>
              </a:pathLst>
            </a:custGeom>
            <a:solidFill>
              <a:srgbClr val="23919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8" name="Freeform 107"/>
            <p:cNvSpPr>
              <a:spLocks noEditPoints="1"/>
            </p:cNvSpPr>
            <p:nvPr/>
          </p:nvSpPr>
          <p:spPr bwMode="auto">
            <a:xfrm>
              <a:off x="9232901" y="2860912"/>
              <a:ext cx="363538" cy="358775"/>
            </a:xfrm>
            <a:custGeom>
              <a:avLst/>
              <a:gdLst>
                <a:gd name="T0" fmla="*/ 46 w 76"/>
                <a:gd name="T1" fmla="*/ 0 h 75"/>
                <a:gd name="T2" fmla="*/ 28 w 76"/>
                <a:gd name="T3" fmla="*/ 0 h 75"/>
                <a:gd name="T4" fmla="*/ 0 w 76"/>
                <a:gd name="T5" fmla="*/ 75 h 75"/>
                <a:gd name="T6" fmla="*/ 17 w 76"/>
                <a:gd name="T7" fmla="*/ 75 h 75"/>
                <a:gd name="T8" fmla="*/ 23 w 76"/>
                <a:gd name="T9" fmla="*/ 57 h 75"/>
                <a:gd name="T10" fmla="*/ 51 w 76"/>
                <a:gd name="T11" fmla="*/ 57 h 75"/>
                <a:gd name="T12" fmla="*/ 58 w 76"/>
                <a:gd name="T13" fmla="*/ 75 h 75"/>
                <a:gd name="T14" fmla="*/ 76 w 76"/>
                <a:gd name="T15" fmla="*/ 75 h 75"/>
                <a:gd name="T16" fmla="*/ 46 w 76"/>
                <a:gd name="T17" fmla="*/ 0 h 75"/>
                <a:gd name="T18" fmla="*/ 27 w 76"/>
                <a:gd name="T19" fmla="*/ 45 h 75"/>
                <a:gd name="T20" fmla="*/ 33 w 76"/>
                <a:gd name="T21" fmla="*/ 29 h 75"/>
                <a:gd name="T22" fmla="*/ 37 w 76"/>
                <a:gd name="T23" fmla="*/ 17 h 75"/>
                <a:gd name="T24" fmla="*/ 41 w 76"/>
                <a:gd name="T25" fmla="*/ 29 h 75"/>
                <a:gd name="T26" fmla="*/ 47 w 76"/>
                <a:gd name="T27" fmla="*/ 45 h 75"/>
                <a:gd name="T28" fmla="*/ 27 w 76"/>
                <a:gd name="T29" fmla="*/ 4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76" h="75">
                  <a:moveTo>
                    <a:pt x="4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0" y="75"/>
                    <a:pt x="0" y="75"/>
                    <a:pt x="0" y="75"/>
                  </a:cubicBezTo>
                  <a:cubicBezTo>
                    <a:pt x="17" y="75"/>
                    <a:pt x="17" y="75"/>
                    <a:pt x="17" y="75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51" y="57"/>
                    <a:pt x="51" y="57"/>
                    <a:pt x="51" y="57"/>
                  </a:cubicBezTo>
                  <a:cubicBezTo>
                    <a:pt x="58" y="75"/>
                    <a:pt x="58" y="75"/>
                    <a:pt x="58" y="75"/>
                  </a:cubicBezTo>
                  <a:cubicBezTo>
                    <a:pt x="76" y="75"/>
                    <a:pt x="76" y="75"/>
                    <a:pt x="76" y="75"/>
                  </a:cubicBezTo>
                  <a:lnTo>
                    <a:pt x="46" y="0"/>
                  </a:lnTo>
                  <a:close/>
                  <a:moveTo>
                    <a:pt x="27" y="45"/>
                  </a:moveTo>
                  <a:cubicBezTo>
                    <a:pt x="33" y="29"/>
                    <a:pt x="33" y="29"/>
                    <a:pt x="33" y="29"/>
                  </a:cubicBezTo>
                  <a:cubicBezTo>
                    <a:pt x="35" y="22"/>
                    <a:pt x="36" y="21"/>
                    <a:pt x="37" y="17"/>
                  </a:cubicBezTo>
                  <a:cubicBezTo>
                    <a:pt x="39" y="23"/>
                    <a:pt x="39" y="24"/>
                    <a:pt x="41" y="29"/>
                  </a:cubicBezTo>
                  <a:cubicBezTo>
                    <a:pt x="47" y="45"/>
                    <a:pt x="47" y="45"/>
                    <a:pt x="47" y="45"/>
                  </a:cubicBezTo>
                  <a:lnTo>
                    <a:pt x="27" y="45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9" name="Freeform 108"/>
            <p:cNvSpPr>
              <a:spLocks noEditPoints="1"/>
            </p:cNvSpPr>
            <p:nvPr/>
          </p:nvSpPr>
          <p:spPr bwMode="auto">
            <a:xfrm>
              <a:off x="9061451" y="4118213"/>
              <a:ext cx="2582863" cy="608013"/>
            </a:xfrm>
            <a:custGeom>
              <a:avLst/>
              <a:gdLst>
                <a:gd name="T0" fmla="*/ 469 w 541"/>
                <a:gd name="T1" fmla="*/ 0 h 127"/>
                <a:gd name="T2" fmla="*/ 0 w 541"/>
                <a:gd name="T3" fmla="*/ 0 h 127"/>
                <a:gd name="T4" fmla="*/ 0 w 541"/>
                <a:gd name="T5" fmla="*/ 127 h 127"/>
                <a:gd name="T6" fmla="*/ 469 w 541"/>
                <a:gd name="T7" fmla="*/ 127 h 127"/>
                <a:gd name="T8" fmla="*/ 541 w 541"/>
                <a:gd name="T9" fmla="*/ 64 h 127"/>
                <a:gd name="T10" fmla="*/ 469 w 541"/>
                <a:gd name="T11" fmla="*/ 0 h 127"/>
                <a:gd name="T12" fmla="*/ 82 w 541"/>
                <a:gd name="T13" fmla="*/ 102 h 127"/>
                <a:gd name="T14" fmla="*/ 54 w 541"/>
                <a:gd name="T15" fmla="*/ 92 h 127"/>
                <a:gd name="T16" fmla="*/ 44 w 541"/>
                <a:gd name="T17" fmla="*/ 64 h 127"/>
                <a:gd name="T18" fmla="*/ 82 w 541"/>
                <a:gd name="T19" fmla="*/ 25 h 127"/>
                <a:gd name="T20" fmla="*/ 105 w 541"/>
                <a:gd name="T21" fmla="*/ 30 h 127"/>
                <a:gd name="T22" fmla="*/ 100 w 541"/>
                <a:gd name="T23" fmla="*/ 43 h 127"/>
                <a:gd name="T24" fmla="*/ 83 w 541"/>
                <a:gd name="T25" fmla="*/ 38 h 127"/>
                <a:gd name="T26" fmla="*/ 62 w 541"/>
                <a:gd name="T27" fmla="*/ 63 h 127"/>
                <a:gd name="T28" fmla="*/ 84 w 541"/>
                <a:gd name="T29" fmla="*/ 89 h 127"/>
                <a:gd name="T30" fmla="*/ 101 w 541"/>
                <a:gd name="T31" fmla="*/ 83 h 127"/>
                <a:gd name="T32" fmla="*/ 106 w 541"/>
                <a:gd name="T33" fmla="*/ 97 h 127"/>
                <a:gd name="T34" fmla="*/ 82 w 541"/>
                <a:gd name="T35" fmla="*/ 102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1" h="127">
                  <a:moveTo>
                    <a:pt x="46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7"/>
                    <a:pt x="0" y="127"/>
                    <a:pt x="0" y="127"/>
                  </a:cubicBezTo>
                  <a:cubicBezTo>
                    <a:pt x="469" y="127"/>
                    <a:pt x="469" y="127"/>
                    <a:pt x="469" y="127"/>
                  </a:cubicBezTo>
                  <a:cubicBezTo>
                    <a:pt x="541" y="64"/>
                    <a:pt x="541" y="64"/>
                    <a:pt x="541" y="64"/>
                  </a:cubicBezTo>
                  <a:lnTo>
                    <a:pt x="469" y="0"/>
                  </a:lnTo>
                  <a:close/>
                  <a:moveTo>
                    <a:pt x="82" y="102"/>
                  </a:moveTo>
                  <a:cubicBezTo>
                    <a:pt x="70" y="102"/>
                    <a:pt x="61" y="99"/>
                    <a:pt x="54" y="92"/>
                  </a:cubicBezTo>
                  <a:cubicBezTo>
                    <a:pt x="48" y="86"/>
                    <a:pt x="44" y="76"/>
                    <a:pt x="44" y="64"/>
                  </a:cubicBezTo>
                  <a:cubicBezTo>
                    <a:pt x="44" y="40"/>
                    <a:pt x="58" y="25"/>
                    <a:pt x="82" y="25"/>
                  </a:cubicBezTo>
                  <a:cubicBezTo>
                    <a:pt x="90" y="25"/>
                    <a:pt x="96" y="26"/>
                    <a:pt x="105" y="30"/>
                  </a:cubicBezTo>
                  <a:cubicBezTo>
                    <a:pt x="100" y="43"/>
                    <a:pt x="100" y="43"/>
                    <a:pt x="100" y="43"/>
                  </a:cubicBezTo>
                  <a:cubicBezTo>
                    <a:pt x="94" y="40"/>
                    <a:pt x="88" y="38"/>
                    <a:pt x="83" y="38"/>
                  </a:cubicBezTo>
                  <a:cubicBezTo>
                    <a:pt x="70" y="38"/>
                    <a:pt x="62" y="48"/>
                    <a:pt x="62" y="63"/>
                  </a:cubicBezTo>
                  <a:cubicBezTo>
                    <a:pt x="62" y="80"/>
                    <a:pt x="70" y="89"/>
                    <a:pt x="84" y="89"/>
                  </a:cubicBezTo>
                  <a:cubicBezTo>
                    <a:pt x="90" y="89"/>
                    <a:pt x="94" y="88"/>
                    <a:pt x="101" y="83"/>
                  </a:cubicBezTo>
                  <a:cubicBezTo>
                    <a:pt x="106" y="97"/>
                    <a:pt x="106" y="97"/>
                    <a:pt x="106" y="97"/>
                  </a:cubicBezTo>
                  <a:cubicBezTo>
                    <a:pt x="97" y="101"/>
                    <a:pt x="92" y="102"/>
                    <a:pt x="82" y="102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0" name="Freeform 109"/>
            <p:cNvSpPr>
              <a:spLocks noEditPoints="1"/>
            </p:cNvSpPr>
            <p:nvPr/>
          </p:nvSpPr>
          <p:spPr bwMode="auto">
            <a:xfrm>
              <a:off x="9061451" y="3430825"/>
              <a:ext cx="2238375" cy="601663"/>
            </a:xfrm>
            <a:custGeom>
              <a:avLst/>
              <a:gdLst>
                <a:gd name="T0" fmla="*/ 397 w 469"/>
                <a:gd name="T1" fmla="*/ 0 h 126"/>
                <a:gd name="T2" fmla="*/ 0 w 469"/>
                <a:gd name="T3" fmla="*/ 0 h 126"/>
                <a:gd name="T4" fmla="*/ 0 w 469"/>
                <a:gd name="T5" fmla="*/ 126 h 126"/>
                <a:gd name="T6" fmla="*/ 397 w 469"/>
                <a:gd name="T7" fmla="*/ 126 h 126"/>
                <a:gd name="T8" fmla="*/ 469 w 469"/>
                <a:gd name="T9" fmla="*/ 63 h 126"/>
                <a:gd name="T10" fmla="*/ 397 w 469"/>
                <a:gd name="T11" fmla="*/ 0 h 126"/>
                <a:gd name="T12" fmla="*/ 95 w 469"/>
                <a:gd name="T13" fmla="*/ 96 h 126"/>
                <a:gd name="T14" fmla="*/ 77 w 469"/>
                <a:gd name="T15" fmla="*/ 101 h 126"/>
                <a:gd name="T16" fmla="*/ 48 w 469"/>
                <a:gd name="T17" fmla="*/ 101 h 126"/>
                <a:gd name="T18" fmla="*/ 48 w 469"/>
                <a:gd name="T19" fmla="*/ 26 h 126"/>
                <a:gd name="T20" fmla="*/ 75 w 469"/>
                <a:gd name="T21" fmla="*/ 26 h 126"/>
                <a:gd name="T22" fmla="*/ 95 w 469"/>
                <a:gd name="T23" fmla="*/ 30 h 126"/>
                <a:gd name="T24" fmla="*/ 102 w 469"/>
                <a:gd name="T25" fmla="*/ 46 h 126"/>
                <a:gd name="T26" fmla="*/ 90 w 469"/>
                <a:gd name="T27" fmla="*/ 62 h 126"/>
                <a:gd name="T28" fmla="*/ 103 w 469"/>
                <a:gd name="T29" fmla="*/ 79 h 126"/>
                <a:gd name="T30" fmla="*/ 95 w 469"/>
                <a:gd name="T31" fmla="*/ 96 h 126"/>
                <a:gd name="T32" fmla="*/ 86 w 469"/>
                <a:gd name="T33" fmla="*/ 79 h 126"/>
                <a:gd name="T34" fmla="*/ 82 w 469"/>
                <a:gd name="T35" fmla="*/ 87 h 126"/>
                <a:gd name="T36" fmla="*/ 73 w 469"/>
                <a:gd name="T37" fmla="*/ 89 h 126"/>
                <a:gd name="T38" fmla="*/ 65 w 469"/>
                <a:gd name="T39" fmla="*/ 89 h 126"/>
                <a:gd name="T40" fmla="*/ 65 w 469"/>
                <a:gd name="T41" fmla="*/ 68 h 126"/>
                <a:gd name="T42" fmla="*/ 73 w 469"/>
                <a:gd name="T43" fmla="*/ 68 h 126"/>
                <a:gd name="T44" fmla="*/ 82 w 469"/>
                <a:gd name="T45" fmla="*/ 70 h 126"/>
                <a:gd name="T46" fmla="*/ 86 w 469"/>
                <a:gd name="T47" fmla="*/ 79 h 126"/>
                <a:gd name="T48" fmla="*/ 73 w 469"/>
                <a:gd name="T49" fmla="*/ 57 h 126"/>
                <a:gd name="T50" fmla="*/ 65 w 469"/>
                <a:gd name="T51" fmla="*/ 57 h 126"/>
                <a:gd name="T52" fmla="*/ 65 w 469"/>
                <a:gd name="T53" fmla="*/ 38 h 126"/>
                <a:gd name="T54" fmla="*/ 72 w 469"/>
                <a:gd name="T55" fmla="*/ 38 h 126"/>
                <a:gd name="T56" fmla="*/ 82 w 469"/>
                <a:gd name="T57" fmla="*/ 40 h 126"/>
                <a:gd name="T58" fmla="*/ 85 w 469"/>
                <a:gd name="T59" fmla="*/ 48 h 126"/>
                <a:gd name="T60" fmla="*/ 82 w 469"/>
                <a:gd name="T61" fmla="*/ 55 h 126"/>
                <a:gd name="T62" fmla="*/ 73 w 469"/>
                <a:gd name="T63" fmla="*/ 57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69" h="126">
                  <a:moveTo>
                    <a:pt x="397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397" y="126"/>
                    <a:pt x="397" y="126"/>
                    <a:pt x="397" y="126"/>
                  </a:cubicBezTo>
                  <a:cubicBezTo>
                    <a:pt x="469" y="63"/>
                    <a:pt x="469" y="63"/>
                    <a:pt x="469" y="63"/>
                  </a:cubicBezTo>
                  <a:lnTo>
                    <a:pt x="397" y="0"/>
                  </a:lnTo>
                  <a:close/>
                  <a:moveTo>
                    <a:pt x="95" y="96"/>
                  </a:moveTo>
                  <a:cubicBezTo>
                    <a:pt x="91" y="99"/>
                    <a:pt x="86" y="101"/>
                    <a:pt x="77" y="101"/>
                  </a:cubicBezTo>
                  <a:cubicBezTo>
                    <a:pt x="48" y="101"/>
                    <a:pt x="48" y="101"/>
                    <a:pt x="48" y="101"/>
                  </a:cubicBezTo>
                  <a:cubicBezTo>
                    <a:pt x="48" y="26"/>
                    <a:pt x="48" y="26"/>
                    <a:pt x="48" y="26"/>
                  </a:cubicBezTo>
                  <a:cubicBezTo>
                    <a:pt x="75" y="26"/>
                    <a:pt x="75" y="26"/>
                    <a:pt x="75" y="26"/>
                  </a:cubicBezTo>
                  <a:cubicBezTo>
                    <a:pt x="86" y="26"/>
                    <a:pt x="90" y="27"/>
                    <a:pt x="95" y="30"/>
                  </a:cubicBezTo>
                  <a:cubicBezTo>
                    <a:pt x="99" y="33"/>
                    <a:pt x="102" y="39"/>
                    <a:pt x="102" y="46"/>
                  </a:cubicBezTo>
                  <a:cubicBezTo>
                    <a:pt x="102" y="54"/>
                    <a:pt x="98" y="60"/>
                    <a:pt x="90" y="62"/>
                  </a:cubicBezTo>
                  <a:cubicBezTo>
                    <a:pt x="99" y="65"/>
                    <a:pt x="103" y="71"/>
                    <a:pt x="103" y="79"/>
                  </a:cubicBezTo>
                  <a:cubicBezTo>
                    <a:pt x="103" y="86"/>
                    <a:pt x="100" y="93"/>
                    <a:pt x="95" y="96"/>
                  </a:cubicBezTo>
                  <a:close/>
                  <a:moveTo>
                    <a:pt x="86" y="79"/>
                  </a:moveTo>
                  <a:cubicBezTo>
                    <a:pt x="86" y="82"/>
                    <a:pt x="84" y="86"/>
                    <a:pt x="82" y="87"/>
                  </a:cubicBezTo>
                  <a:cubicBezTo>
                    <a:pt x="80" y="88"/>
                    <a:pt x="78" y="89"/>
                    <a:pt x="73" y="89"/>
                  </a:cubicBezTo>
                  <a:cubicBezTo>
                    <a:pt x="65" y="89"/>
                    <a:pt x="65" y="89"/>
                    <a:pt x="65" y="89"/>
                  </a:cubicBezTo>
                  <a:cubicBezTo>
                    <a:pt x="65" y="68"/>
                    <a:pt x="65" y="68"/>
                    <a:pt x="65" y="68"/>
                  </a:cubicBezTo>
                  <a:cubicBezTo>
                    <a:pt x="73" y="68"/>
                    <a:pt x="73" y="68"/>
                    <a:pt x="73" y="68"/>
                  </a:cubicBezTo>
                  <a:cubicBezTo>
                    <a:pt x="77" y="68"/>
                    <a:pt x="80" y="69"/>
                    <a:pt x="82" y="70"/>
                  </a:cubicBezTo>
                  <a:cubicBezTo>
                    <a:pt x="84" y="72"/>
                    <a:pt x="86" y="75"/>
                    <a:pt x="86" y="79"/>
                  </a:cubicBezTo>
                  <a:close/>
                  <a:moveTo>
                    <a:pt x="73" y="57"/>
                  </a:moveTo>
                  <a:cubicBezTo>
                    <a:pt x="65" y="57"/>
                    <a:pt x="65" y="57"/>
                    <a:pt x="65" y="57"/>
                  </a:cubicBezTo>
                  <a:cubicBezTo>
                    <a:pt x="65" y="38"/>
                    <a:pt x="65" y="38"/>
                    <a:pt x="65" y="38"/>
                  </a:cubicBezTo>
                  <a:cubicBezTo>
                    <a:pt x="72" y="38"/>
                    <a:pt x="72" y="38"/>
                    <a:pt x="72" y="38"/>
                  </a:cubicBezTo>
                  <a:cubicBezTo>
                    <a:pt x="77" y="38"/>
                    <a:pt x="80" y="38"/>
                    <a:pt x="82" y="40"/>
                  </a:cubicBezTo>
                  <a:cubicBezTo>
                    <a:pt x="84" y="42"/>
                    <a:pt x="85" y="45"/>
                    <a:pt x="85" y="48"/>
                  </a:cubicBezTo>
                  <a:cubicBezTo>
                    <a:pt x="85" y="51"/>
                    <a:pt x="84" y="54"/>
                    <a:pt x="82" y="55"/>
                  </a:cubicBezTo>
                  <a:cubicBezTo>
                    <a:pt x="80" y="57"/>
                    <a:pt x="78" y="57"/>
                    <a:pt x="73" y="57"/>
                  </a:cubicBez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1" name="Freeform 110"/>
            <p:cNvSpPr>
              <a:spLocks noEditPoints="1"/>
            </p:cNvSpPr>
            <p:nvPr/>
          </p:nvSpPr>
          <p:spPr bwMode="auto">
            <a:xfrm>
              <a:off x="9061451" y="2741849"/>
              <a:ext cx="1895475" cy="601663"/>
            </a:xfrm>
            <a:custGeom>
              <a:avLst/>
              <a:gdLst>
                <a:gd name="T0" fmla="*/ 965 w 1194"/>
                <a:gd name="T1" fmla="*/ 27 h 379"/>
                <a:gd name="T2" fmla="*/ 1152 w 1194"/>
                <a:gd name="T3" fmla="*/ 190 h 379"/>
                <a:gd name="T4" fmla="*/ 965 w 1194"/>
                <a:gd name="T5" fmla="*/ 352 h 379"/>
                <a:gd name="T6" fmla="*/ 27 w 1194"/>
                <a:gd name="T7" fmla="*/ 352 h 379"/>
                <a:gd name="T8" fmla="*/ 27 w 1194"/>
                <a:gd name="T9" fmla="*/ 27 h 379"/>
                <a:gd name="T10" fmla="*/ 965 w 1194"/>
                <a:gd name="T11" fmla="*/ 27 h 379"/>
                <a:gd name="T12" fmla="*/ 974 w 1194"/>
                <a:gd name="T13" fmla="*/ 0 h 379"/>
                <a:gd name="T14" fmla="*/ 0 w 1194"/>
                <a:gd name="T15" fmla="*/ 0 h 379"/>
                <a:gd name="T16" fmla="*/ 0 w 1194"/>
                <a:gd name="T17" fmla="*/ 379 h 379"/>
                <a:gd name="T18" fmla="*/ 974 w 1194"/>
                <a:gd name="T19" fmla="*/ 379 h 379"/>
                <a:gd name="T20" fmla="*/ 1194 w 1194"/>
                <a:gd name="T21" fmla="*/ 190 h 379"/>
                <a:gd name="T22" fmla="*/ 974 w 1194"/>
                <a:gd name="T23" fmla="*/ 0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94" h="379">
                  <a:moveTo>
                    <a:pt x="965" y="27"/>
                  </a:moveTo>
                  <a:lnTo>
                    <a:pt x="1152" y="190"/>
                  </a:lnTo>
                  <a:lnTo>
                    <a:pt x="965" y="352"/>
                  </a:lnTo>
                  <a:lnTo>
                    <a:pt x="27" y="352"/>
                  </a:lnTo>
                  <a:lnTo>
                    <a:pt x="27" y="27"/>
                  </a:lnTo>
                  <a:lnTo>
                    <a:pt x="965" y="27"/>
                  </a:lnTo>
                  <a:close/>
                  <a:moveTo>
                    <a:pt x="974" y="0"/>
                  </a:moveTo>
                  <a:lnTo>
                    <a:pt x="0" y="0"/>
                  </a:lnTo>
                  <a:lnTo>
                    <a:pt x="0" y="379"/>
                  </a:lnTo>
                  <a:lnTo>
                    <a:pt x="974" y="379"/>
                  </a:lnTo>
                  <a:lnTo>
                    <a:pt x="1194" y="190"/>
                  </a:lnTo>
                  <a:lnTo>
                    <a:pt x="974" y="0"/>
                  </a:lnTo>
                  <a:close/>
                </a:path>
              </a:pathLst>
            </a:custGeom>
            <a:solidFill>
              <a:srgbClr val="0F828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32" name="Freeform 79"/>
          <p:cNvSpPr>
            <a:spLocks/>
          </p:cNvSpPr>
          <p:nvPr/>
        </p:nvSpPr>
        <p:spPr bwMode="auto">
          <a:xfrm>
            <a:off x="8790671" y="3968084"/>
            <a:ext cx="1307868" cy="1017984"/>
          </a:xfrm>
          <a:custGeom>
            <a:avLst/>
            <a:gdLst>
              <a:gd name="T0" fmla="*/ 322 w 961"/>
              <a:gd name="T1" fmla="*/ 535 h 748"/>
              <a:gd name="T2" fmla="*/ 854 w 961"/>
              <a:gd name="T3" fmla="*/ 0 h 748"/>
              <a:gd name="T4" fmla="*/ 961 w 961"/>
              <a:gd name="T5" fmla="*/ 106 h 748"/>
              <a:gd name="T6" fmla="*/ 322 w 961"/>
              <a:gd name="T7" fmla="*/ 748 h 748"/>
              <a:gd name="T8" fmla="*/ 0 w 961"/>
              <a:gd name="T9" fmla="*/ 426 h 748"/>
              <a:gd name="T10" fmla="*/ 109 w 961"/>
              <a:gd name="T11" fmla="*/ 319 h 748"/>
              <a:gd name="T12" fmla="*/ 322 w 961"/>
              <a:gd name="T13" fmla="*/ 535 h 7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961" h="748">
                <a:moveTo>
                  <a:pt x="322" y="535"/>
                </a:moveTo>
                <a:lnTo>
                  <a:pt x="854" y="0"/>
                </a:lnTo>
                <a:lnTo>
                  <a:pt x="961" y="106"/>
                </a:lnTo>
                <a:lnTo>
                  <a:pt x="322" y="748"/>
                </a:lnTo>
                <a:lnTo>
                  <a:pt x="0" y="426"/>
                </a:lnTo>
                <a:lnTo>
                  <a:pt x="109" y="319"/>
                </a:lnTo>
                <a:lnTo>
                  <a:pt x="322" y="535"/>
                </a:lnTo>
                <a:close/>
              </a:path>
            </a:pathLst>
          </a:custGeom>
          <a:solidFill>
            <a:srgbClr val="AAB41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233" name="Textfeld 122"/>
          <p:cNvSpPr txBox="1"/>
          <p:nvPr/>
        </p:nvSpPr>
        <p:spPr>
          <a:xfrm>
            <a:off x="9009960" y="2231027"/>
            <a:ext cx="763029" cy="325410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dirty="0" smtClean="0">
                <a:solidFill>
                  <a:srgbClr val="9BAFB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Комнатная </a:t>
            </a:r>
          </a:p>
          <a:p>
            <a:pPr>
              <a:lnSpc>
                <a:spcPct val="110000"/>
              </a:lnSpc>
              <a:spcBef>
                <a:spcPts val="0"/>
              </a:spcBef>
            </a:pPr>
            <a:r>
              <a:rPr lang="ru-RU" sz="1000" dirty="0" smtClean="0">
                <a:solidFill>
                  <a:srgbClr val="9BAFBE"/>
                </a:solidFill>
                <a:latin typeface="+mn-lt"/>
                <a:ea typeface="Arial Unicode MS" panose="020B0604020202020204" pitchFamily="34" charset="-128"/>
                <a:cs typeface="Arial Unicode MS" panose="020B0604020202020204" pitchFamily="34" charset="-128"/>
              </a:rPr>
              <a:t>температура</a:t>
            </a:r>
            <a:endParaRPr lang="en-US" sz="1000" dirty="0" smtClean="0">
              <a:solidFill>
                <a:srgbClr val="9BAFBE"/>
              </a:solidFill>
              <a:latin typeface="+mn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15432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500"/>
                                        <p:tgtEl>
                                          <p:spTgt spid="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9" grpId="0" animBg="1"/>
      <p:bldP spid="232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/>
          <p:cNvSpPr>
            <a:spLocks noGrp="1"/>
          </p:cNvSpPr>
          <p:nvPr>
            <p:ph type="body" sz="quarter" idx="12"/>
          </p:nvPr>
        </p:nvSpPr>
        <p:spPr bwMode="gray">
          <a:xfrm>
            <a:off x="627062" y="5907600"/>
            <a:ext cx="5616576" cy="324000"/>
          </a:xfrm>
        </p:spPr>
        <p:txBody>
          <a:bodyPr/>
          <a:lstStyle/>
          <a:p>
            <a:r>
              <a:rPr lang="en-US" noProof="0" dirty="0" smtClean="0"/>
              <a:t>www.siemens.com/sensors</a:t>
            </a:r>
            <a:endParaRPr lang="en-US" noProof="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 bwMode="gray">
          <a:xfrm>
            <a:off x="627062" y="5907600"/>
            <a:ext cx="3094038" cy="324000"/>
          </a:xfrm>
        </p:spPr>
        <p:txBody>
          <a:bodyPr/>
          <a:lstStyle/>
          <a:p>
            <a:r>
              <a:rPr lang="en-US" dirty="0"/>
              <a:t>Restricted © Siemens Switzerland </a:t>
            </a:r>
            <a:r>
              <a:rPr lang="en-US" dirty="0" smtClean="0"/>
              <a:t>Ltd 2017</a:t>
            </a:r>
            <a:endParaRPr lang="en-US" dirty="0"/>
          </a:p>
        </p:txBody>
      </p:sp>
      <p:sp>
        <p:nvSpPr>
          <p:cNvPr id="4" name="Titel 3"/>
          <p:cNvSpPr>
            <a:spLocks noGrp="1"/>
          </p:cNvSpPr>
          <p:nvPr>
            <p:ph type="ctrTitle"/>
          </p:nvPr>
        </p:nvSpPr>
        <p:spPr bwMode="gray">
          <a:xfrm>
            <a:off x="627062" y="3631459"/>
            <a:ext cx="5616576" cy="2171036"/>
          </a:xfrm>
        </p:spPr>
        <p:txBody>
          <a:bodyPr/>
          <a:lstStyle/>
          <a:p>
            <a:r>
              <a:rPr lang="ru-RU" dirty="0" smtClean="0">
                <a:solidFill>
                  <a:schemeClr val="bg1"/>
                </a:solidFill>
              </a:rPr>
              <a:t>Датчики мелкой пыли</a:t>
            </a:r>
            <a:r>
              <a:rPr lang="en-US" dirty="0" smtClean="0">
                <a:solidFill>
                  <a:schemeClr val="bg1"/>
                </a:solidFill>
              </a:rPr>
              <a:t/>
            </a:r>
            <a:br>
              <a:rPr lang="en-US" dirty="0" smtClean="0">
                <a:solidFill>
                  <a:schemeClr val="bg1"/>
                </a:solidFill>
              </a:rPr>
            </a:br>
            <a:r>
              <a:rPr lang="en-US" sz="1100" dirty="0">
                <a:solidFill>
                  <a:schemeClr val="bg1"/>
                </a:solidFill>
              </a:rPr>
              <a:t/>
            </a:r>
            <a:br>
              <a:rPr lang="en-US" sz="1100" dirty="0">
                <a:solidFill>
                  <a:schemeClr val="bg1"/>
                </a:solidFill>
              </a:rPr>
            </a:br>
            <a:r>
              <a:rPr lang="ru-RU" sz="2200" b="0" dirty="0" smtClean="0">
                <a:solidFill>
                  <a:schemeClr val="bg1"/>
                </a:solidFill>
              </a:rPr>
              <a:t>для</a:t>
            </a:r>
            <a:r>
              <a:rPr lang="en-US" sz="2200" b="0" dirty="0" smtClean="0">
                <a:solidFill>
                  <a:schemeClr val="bg1"/>
                </a:solidFill>
              </a:rPr>
              <a:t> PM2.5 </a:t>
            </a:r>
            <a:r>
              <a:rPr lang="ru-RU" sz="2200" b="0" dirty="0" smtClean="0">
                <a:solidFill>
                  <a:schemeClr val="bg1"/>
                </a:solidFill>
              </a:rPr>
              <a:t>и</a:t>
            </a:r>
            <a:r>
              <a:rPr lang="en-US" sz="2200" b="0" dirty="0" smtClean="0">
                <a:solidFill>
                  <a:schemeClr val="bg1"/>
                </a:solidFill>
              </a:rPr>
              <a:t> PM10</a:t>
            </a:r>
            <a:endParaRPr lang="en-US" sz="2200" b="0" dirty="0">
              <a:solidFill>
                <a:schemeClr val="bg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8350" cy="686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45035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2583478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Мелкая пыль проблема которая затрагивает каждого</a:t>
            </a:r>
            <a:endParaRPr lang="en-US" dirty="0"/>
          </a:p>
        </p:txBody>
      </p:sp>
      <p:sp>
        <p:nvSpPr>
          <p:cNvPr id="10" name="TextBox 6"/>
          <p:cNvSpPr txBox="1"/>
          <p:nvPr/>
        </p:nvSpPr>
        <p:spPr bwMode="gray">
          <a:xfrm>
            <a:off x="0" y="5626100"/>
            <a:ext cx="12198350" cy="574675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50BEBE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612000" tIns="0" rIns="216000" bIns="0" numCol="1" anchor="ctr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4400" b="1" smtClean="0">
                <a:solidFill>
                  <a:srgbClr val="FFFFFF"/>
                </a:solidFill>
                <a:ea typeface="+mj-ea"/>
                <a:cs typeface="Arial" pitchFamily="34" charset="0"/>
              </a:defRPr>
            </a:lvl1pPr>
            <a:lvl2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lvl="1"/>
            <a:endParaRPr lang="en-US" sz="2200" dirty="0">
              <a:solidFill>
                <a:schemeClr val="bg1"/>
              </a:solidFill>
            </a:endParaRPr>
          </a:p>
        </p:txBody>
      </p:sp>
      <p:grpSp>
        <p:nvGrpSpPr>
          <p:cNvPr id="3" name="Gruppieren 178178"/>
          <p:cNvGrpSpPr/>
          <p:nvPr/>
        </p:nvGrpSpPr>
        <p:grpSpPr bwMode="gray">
          <a:xfrm>
            <a:off x="8552013" y="1557338"/>
            <a:ext cx="3163736" cy="4008010"/>
            <a:chOff x="8552013" y="1557338"/>
            <a:chExt cx="3163736" cy="4008010"/>
          </a:xfrm>
        </p:grpSpPr>
        <p:sp>
          <p:nvSpPr>
            <p:cNvPr id="15" name="Freeform 8"/>
            <p:cNvSpPr>
              <a:spLocks noChangeAspect="1" noEditPoints="1"/>
            </p:cNvSpPr>
            <p:nvPr/>
          </p:nvSpPr>
          <p:spPr bwMode="gray">
            <a:xfrm>
              <a:off x="8842374" y="3554057"/>
              <a:ext cx="568110" cy="457880"/>
            </a:xfrm>
            <a:custGeom>
              <a:avLst/>
              <a:gdLst>
                <a:gd name="T0" fmla="*/ 1160 w 1247"/>
                <a:gd name="T1" fmla="*/ 303 h 1042"/>
                <a:gd name="T2" fmla="*/ 1157 w 1247"/>
                <a:gd name="T3" fmla="*/ 295 h 1042"/>
                <a:gd name="T4" fmla="*/ 1148 w 1247"/>
                <a:gd name="T5" fmla="*/ 291 h 1042"/>
                <a:gd name="T6" fmla="*/ 802 w 1247"/>
                <a:gd name="T7" fmla="*/ 291 h 1042"/>
                <a:gd name="T8" fmla="*/ 794 w 1247"/>
                <a:gd name="T9" fmla="*/ 295 h 1042"/>
                <a:gd name="T10" fmla="*/ 790 w 1247"/>
                <a:gd name="T11" fmla="*/ 303 h 1042"/>
                <a:gd name="T12" fmla="*/ 730 w 1247"/>
                <a:gd name="T13" fmla="*/ 921 h 1042"/>
                <a:gd name="T14" fmla="*/ 635 w 1247"/>
                <a:gd name="T15" fmla="*/ 16 h 1042"/>
                <a:gd name="T16" fmla="*/ 630 w 1247"/>
                <a:gd name="T17" fmla="*/ 5 h 1042"/>
                <a:gd name="T18" fmla="*/ 619 w 1247"/>
                <a:gd name="T19" fmla="*/ 0 h 1042"/>
                <a:gd name="T20" fmla="*/ 137 w 1247"/>
                <a:gd name="T21" fmla="*/ 0 h 1042"/>
                <a:gd name="T22" fmla="*/ 126 w 1247"/>
                <a:gd name="T23" fmla="*/ 5 h 1042"/>
                <a:gd name="T24" fmla="*/ 121 w 1247"/>
                <a:gd name="T25" fmla="*/ 16 h 1042"/>
                <a:gd name="T26" fmla="*/ 2 w 1247"/>
                <a:gd name="T27" fmla="*/ 1022 h 1042"/>
                <a:gd name="T28" fmla="*/ 4 w 1247"/>
                <a:gd name="T29" fmla="*/ 1036 h 1042"/>
                <a:gd name="T30" fmla="*/ 17 w 1247"/>
                <a:gd name="T31" fmla="*/ 1042 h 1042"/>
                <a:gd name="T32" fmla="*/ 1235 w 1247"/>
                <a:gd name="T33" fmla="*/ 1042 h 1042"/>
                <a:gd name="T34" fmla="*/ 1235 w 1247"/>
                <a:gd name="T35" fmla="*/ 1042 h 1042"/>
                <a:gd name="T36" fmla="*/ 1247 w 1247"/>
                <a:gd name="T37" fmla="*/ 1030 h 1042"/>
                <a:gd name="T38" fmla="*/ 1246 w 1247"/>
                <a:gd name="T39" fmla="*/ 1026 h 1042"/>
                <a:gd name="T40" fmla="*/ 1160 w 1247"/>
                <a:gd name="T41" fmla="*/ 303 h 1042"/>
                <a:gd name="T42" fmla="*/ 1160 w 1247"/>
                <a:gd name="T43" fmla="*/ 303 h 1042"/>
                <a:gd name="T44" fmla="*/ 1160 w 1247"/>
                <a:gd name="T45" fmla="*/ 303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247" h="1042">
                  <a:moveTo>
                    <a:pt x="1160" y="303"/>
                  </a:moveTo>
                  <a:cubicBezTo>
                    <a:pt x="1160" y="300"/>
                    <a:pt x="1159" y="297"/>
                    <a:pt x="1157" y="295"/>
                  </a:cubicBezTo>
                  <a:cubicBezTo>
                    <a:pt x="1154" y="292"/>
                    <a:pt x="1151" y="291"/>
                    <a:pt x="1148" y="291"/>
                  </a:cubicBezTo>
                  <a:cubicBezTo>
                    <a:pt x="802" y="291"/>
                    <a:pt x="802" y="291"/>
                    <a:pt x="802" y="291"/>
                  </a:cubicBezTo>
                  <a:cubicBezTo>
                    <a:pt x="799" y="291"/>
                    <a:pt x="796" y="292"/>
                    <a:pt x="794" y="295"/>
                  </a:cubicBezTo>
                  <a:cubicBezTo>
                    <a:pt x="792" y="297"/>
                    <a:pt x="790" y="300"/>
                    <a:pt x="790" y="303"/>
                  </a:cubicBezTo>
                  <a:cubicBezTo>
                    <a:pt x="792" y="519"/>
                    <a:pt x="772" y="727"/>
                    <a:pt x="730" y="921"/>
                  </a:cubicBezTo>
                  <a:cubicBezTo>
                    <a:pt x="664" y="638"/>
                    <a:pt x="632" y="334"/>
                    <a:pt x="635" y="16"/>
                  </a:cubicBezTo>
                  <a:cubicBezTo>
                    <a:pt x="635" y="12"/>
                    <a:pt x="633" y="8"/>
                    <a:pt x="630" y="5"/>
                  </a:cubicBezTo>
                  <a:cubicBezTo>
                    <a:pt x="627" y="2"/>
                    <a:pt x="623" y="0"/>
                    <a:pt x="619" y="0"/>
                  </a:cubicBezTo>
                  <a:cubicBezTo>
                    <a:pt x="137" y="0"/>
                    <a:pt x="137" y="0"/>
                    <a:pt x="137" y="0"/>
                  </a:cubicBezTo>
                  <a:cubicBezTo>
                    <a:pt x="133" y="0"/>
                    <a:pt x="129" y="2"/>
                    <a:pt x="126" y="5"/>
                  </a:cubicBezTo>
                  <a:cubicBezTo>
                    <a:pt x="123" y="8"/>
                    <a:pt x="121" y="12"/>
                    <a:pt x="121" y="16"/>
                  </a:cubicBezTo>
                  <a:cubicBezTo>
                    <a:pt x="124" y="371"/>
                    <a:pt x="84" y="710"/>
                    <a:pt x="2" y="1022"/>
                  </a:cubicBezTo>
                  <a:cubicBezTo>
                    <a:pt x="0" y="1026"/>
                    <a:pt x="1" y="1032"/>
                    <a:pt x="4" y="1036"/>
                  </a:cubicBezTo>
                  <a:cubicBezTo>
                    <a:pt x="7" y="1039"/>
                    <a:pt x="12" y="1042"/>
                    <a:pt x="17" y="1042"/>
                  </a:cubicBezTo>
                  <a:cubicBezTo>
                    <a:pt x="1235" y="1042"/>
                    <a:pt x="1235" y="1042"/>
                    <a:pt x="1235" y="1042"/>
                  </a:cubicBezTo>
                  <a:cubicBezTo>
                    <a:pt x="1235" y="1042"/>
                    <a:pt x="1235" y="1042"/>
                    <a:pt x="1235" y="1042"/>
                  </a:cubicBezTo>
                  <a:cubicBezTo>
                    <a:pt x="1241" y="1042"/>
                    <a:pt x="1247" y="1036"/>
                    <a:pt x="1247" y="1030"/>
                  </a:cubicBezTo>
                  <a:cubicBezTo>
                    <a:pt x="1247" y="1029"/>
                    <a:pt x="1246" y="1027"/>
                    <a:pt x="1246" y="1026"/>
                  </a:cubicBezTo>
                  <a:cubicBezTo>
                    <a:pt x="1187" y="802"/>
                    <a:pt x="1158" y="558"/>
                    <a:pt x="1160" y="303"/>
                  </a:cubicBezTo>
                  <a:close/>
                  <a:moveTo>
                    <a:pt x="1160" y="303"/>
                  </a:moveTo>
                  <a:cubicBezTo>
                    <a:pt x="1160" y="303"/>
                    <a:pt x="1160" y="303"/>
                    <a:pt x="1160" y="303"/>
                  </a:cubicBezTo>
                </a:path>
              </a:pathLst>
            </a:custGeom>
            <a:solidFill>
              <a:srgbClr val="41AA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 dirty="0"/>
            </a:p>
          </p:txBody>
        </p:sp>
        <p:sp>
          <p:nvSpPr>
            <p:cNvPr id="19" name="TextBox 6"/>
            <p:cNvSpPr txBox="1"/>
            <p:nvPr/>
          </p:nvSpPr>
          <p:spPr bwMode="gray">
            <a:xfrm>
              <a:off x="8836024" y="1559030"/>
              <a:ext cx="2879725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90488" lvl="1" indent="-90488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2400" dirty="0" smtClean="0">
                  <a:solidFill>
                    <a:srgbClr val="41AAAA"/>
                  </a:solidFill>
                </a:rPr>
                <a:t>Источники</a:t>
              </a:r>
              <a:endParaRPr lang="en-US" sz="2400" dirty="0" smtClean="0">
                <a:solidFill>
                  <a:srgbClr val="41AAAA"/>
                </a:solidFill>
              </a:endParaRPr>
            </a:p>
          </p:txBody>
        </p:sp>
        <p:sp>
          <p:nvSpPr>
            <p:cNvPr id="13" name="Freeform 6"/>
            <p:cNvSpPr>
              <a:spLocks noChangeAspect="1" noEditPoints="1"/>
            </p:cNvSpPr>
            <p:nvPr/>
          </p:nvSpPr>
          <p:spPr bwMode="gray">
            <a:xfrm>
              <a:off x="8842374" y="2152306"/>
              <a:ext cx="655165" cy="435354"/>
            </a:xfrm>
            <a:custGeom>
              <a:avLst/>
              <a:gdLst>
                <a:gd name="T0" fmla="*/ 1020 w 1020"/>
                <a:gd name="T1" fmla="*/ 295 h 703"/>
                <a:gd name="T2" fmla="*/ 1020 w 1020"/>
                <a:gd name="T3" fmla="*/ 250 h 703"/>
                <a:gd name="T4" fmla="*/ 907 w 1020"/>
                <a:gd name="T5" fmla="*/ 250 h 703"/>
                <a:gd name="T6" fmla="*/ 799 w 1020"/>
                <a:gd name="T7" fmla="*/ 52 h 703"/>
                <a:gd name="T8" fmla="*/ 712 w 1020"/>
                <a:gd name="T9" fmla="*/ 0 h 703"/>
                <a:gd name="T10" fmla="*/ 309 w 1020"/>
                <a:gd name="T11" fmla="*/ 0 h 703"/>
                <a:gd name="T12" fmla="*/ 222 w 1020"/>
                <a:gd name="T13" fmla="*/ 52 h 703"/>
                <a:gd name="T14" fmla="*/ 113 w 1020"/>
                <a:gd name="T15" fmla="*/ 250 h 703"/>
                <a:gd name="T16" fmla="*/ 0 w 1020"/>
                <a:gd name="T17" fmla="*/ 250 h 703"/>
                <a:gd name="T18" fmla="*/ 0 w 1020"/>
                <a:gd name="T19" fmla="*/ 295 h 703"/>
                <a:gd name="T20" fmla="*/ 80 w 1020"/>
                <a:gd name="T21" fmla="*/ 340 h 703"/>
                <a:gd name="T22" fmla="*/ 68 w 1020"/>
                <a:gd name="T23" fmla="*/ 454 h 703"/>
                <a:gd name="T24" fmla="*/ 82 w 1020"/>
                <a:gd name="T25" fmla="*/ 658 h 703"/>
                <a:gd name="T26" fmla="*/ 127 w 1020"/>
                <a:gd name="T27" fmla="*/ 703 h 703"/>
                <a:gd name="T28" fmla="*/ 181 w 1020"/>
                <a:gd name="T29" fmla="*/ 703 h 703"/>
                <a:gd name="T30" fmla="*/ 227 w 1020"/>
                <a:gd name="T31" fmla="*/ 651 h 703"/>
                <a:gd name="T32" fmla="*/ 227 w 1020"/>
                <a:gd name="T33" fmla="*/ 590 h 703"/>
                <a:gd name="T34" fmla="*/ 794 w 1020"/>
                <a:gd name="T35" fmla="*/ 590 h 703"/>
                <a:gd name="T36" fmla="*/ 794 w 1020"/>
                <a:gd name="T37" fmla="*/ 651 h 703"/>
                <a:gd name="T38" fmla="*/ 839 w 1020"/>
                <a:gd name="T39" fmla="*/ 703 h 703"/>
                <a:gd name="T40" fmla="*/ 893 w 1020"/>
                <a:gd name="T41" fmla="*/ 703 h 703"/>
                <a:gd name="T42" fmla="*/ 938 w 1020"/>
                <a:gd name="T43" fmla="*/ 658 h 703"/>
                <a:gd name="T44" fmla="*/ 952 w 1020"/>
                <a:gd name="T45" fmla="*/ 454 h 703"/>
                <a:gd name="T46" fmla="*/ 941 w 1020"/>
                <a:gd name="T47" fmla="*/ 340 h 703"/>
                <a:gd name="T48" fmla="*/ 1020 w 1020"/>
                <a:gd name="T49" fmla="*/ 295 h 703"/>
                <a:gd name="T50" fmla="*/ 300 w 1020"/>
                <a:gd name="T51" fmla="*/ 505 h 703"/>
                <a:gd name="T52" fmla="*/ 136 w 1020"/>
                <a:gd name="T53" fmla="*/ 505 h 703"/>
                <a:gd name="T54" fmla="*/ 130 w 1020"/>
                <a:gd name="T55" fmla="*/ 414 h 703"/>
                <a:gd name="T56" fmla="*/ 244 w 1020"/>
                <a:gd name="T57" fmla="*/ 422 h 703"/>
                <a:gd name="T58" fmla="*/ 300 w 1020"/>
                <a:gd name="T59" fmla="*/ 488 h 703"/>
                <a:gd name="T60" fmla="*/ 300 w 1020"/>
                <a:gd name="T61" fmla="*/ 505 h 703"/>
                <a:gd name="T62" fmla="*/ 191 w 1020"/>
                <a:gd name="T63" fmla="*/ 250 h 703"/>
                <a:gd name="T64" fmla="*/ 281 w 1020"/>
                <a:gd name="T65" fmla="*/ 85 h 703"/>
                <a:gd name="T66" fmla="*/ 308 w 1020"/>
                <a:gd name="T67" fmla="*/ 69 h 703"/>
                <a:gd name="T68" fmla="*/ 713 w 1020"/>
                <a:gd name="T69" fmla="*/ 69 h 703"/>
                <a:gd name="T70" fmla="*/ 739 w 1020"/>
                <a:gd name="T71" fmla="*/ 85 h 703"/>
                <a:gd name="T72" fmla="*/ 830 w 1020"/>
                <a:gd name="T73" fmla="*/ 250 h 703"/>
                <a:gd name="T74" fmla="*/ 830 w 1020"/>
                <a:gd name="T75" fmla="*/ 250 h 703"/>
                <a:gd name="T76" fmla="*/ 510 w 1020"/>
                <a:gd name="T77" fmla="*/ 272 h 703"/>
                <a:gd name="T78" fmla="*/ 191 w 1020"/>
                <a:gd name="T79" fmla="*/ 250 h 703"/>
                <a:gd name="T80" fmla="*/ 884 w 1020"/>
                <a:gd name="T81" fmla="*/ 505 h 703"/>
                <a:gd name="T82" fmla="*/ 720 w 1020"/>
                <a:gd name="T83" fmla="*/ 505 h 703"/>
                <a:gd name="T84" fmla="*/ 720 w 1020"/>
                <a:gd name="T85" fmla="*/ 488 h 703"/>
                <a:gd name="T86" fmla="*/ 776 w 1020"/>
                <a:gd name="T87" fmla="*/ 422 h 703"/>
                <a:gd name="T88" fmla="*/ 891 w 1020"/>
                <a:gd name="T89" fmla="*/ 414 h 703"/>
                <a:gd name="T90" fmla="*/ 884 w 1020"/>
                <a:gd name="T91" fmla="*/ 505 h 7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020" h="703">
                  <a:moveTo>
                    <a:pt x="1020" y="295"/>
                  </a:moveTo>
                  <a:cubicBezTo>
                    <a:pt x="1020" y="250"/>
                    <a:pt x="1020" y="250"/>
                    <a:pt x="1020" y="250"/>
                  </a:cubicBezTo>
                  <a:cubicBezTo>
                    <a:pt x="907" y="250"/>
                    <a:pt x="907" y="250"/>
                    <a:pt x="907" y="250"/>
                  </a:cubicBezTo>
                  <a:cubicBezTo>
                    <a:pt x="799" y="52"/>
                    <a:pt x="799" y="52"/>
                    <a:pt x="799" y="52"/>
                  </a:cubicBezTo>
                  <a:cubicBezTo>
                    <a:pt x="779" y="15"/>
                    <a:pt x="754" y="0"/>
                    <a:pt x="712" y="0"/>
                  </a:cubicBezTo>
                  <a:cubicBezTo>
                    <a:pt x="309" y="0"/>
                    <a:pt x="309" y="0"/>
                    <a:pt x="309" y="0"/>
                  </a:cubicBezTo>
                  <a:cubicBezTo>
                    <a:pt x="267" y="0"/>
                    <a:pt x="241" y="15"/>
                    <a:pt x="222" y="52"/>
                  </a:cubicBezTo>
                  <a:cubicBezTo>
                    <a:pt x="113" y="250"/>
                    <a:pt x="113" y="250"/>
                    <a:pt x="113" y="250"/>
                  </a:cubicBezTo>
                  <a:cubicBezTo>
                    <a:pt x="0" y="250"/>
                    <a:pt x="0" y="250"/>
                    <a:pt x="0" y="250"/>
                  </a:cubicBezTo>
                  <a:cubicBezTo>
                    <a:pt x="0" y="295"/>
                    <a:pt x="0" y="295"/>
                    <a:pt x="0" y="295"/>
                  </a:cubicBezTo>
                  <a:cubicBezTo>
                    <a:pt x="80" y="340"/>
                    <a:pt x="80" y="340"/>
                    <a:pt x="80" y="340"/>
                  </a:cubicBezTo>
                  <a:cubicBezTo>
                    <a:pt x="69" y="380"/>
                    <a:pt x="68" y="395"/>
                    <a:pt x="68" y="454"/>
                  </a:cubicBezTo>
                  <a:cubicBezTo>
                    <a:pt x="82" y="658"/>
                    <a:pt x="82" y="658"/>
                    <a:pt x="82" y="658"/>
                  </a:cubicBezTo>
                  <a:cubicBezTo>
                    <a:pt x="85" y="685"/>
                    <a:pt x="102" y="703"/>
                    <a:pt x="127" y="703"/>
                  </a:cubicBezTo>
                  <a:cubicBezTo>
                    <a:pt x="181" y="703"/>
                    <a:pt x="181" y="703"/>
                    <a:pt x="181" y="703"/>
                  </a:cubicBezTo>
                  <a:cubicBezTo>
                    <a:pt x="208" y="703"/>
                    <a:pt x="227" y="682"/>
                    <a:pt x="227" y="651"/>
                  </a:cubicBezTo>
                  <a:cubicBezTo>
                    <a:pt x="227" y="590"/>
                    <a:pt x="227" y="590"/>
                    <a:pt x="227" y="590"/>
                  </a:cubicBezTo>
                  <a:cubicBezTo>
                    <a:pt x="794" y="590"/>
                    <a:pt x="794" y="590"/>
                    <a:pt x="794" y="590"/>
                  </a:cubicBezTo>
                  <a:cubicBezTo>
                    <a:pt x="794" y="651"/>
                    <a:pt x="794" y="651"/>
                    <a:pt x="794" y="651"/>
                  </a:cubicBezTo>
                  <a:cubicBezTo>
                    <a:pt x="794" y="682"/>
                    <a:pt x="812" y="703"/>
                    <a:pt x="839" y="703"/>
                  </a:cubicBezTo>
                  <a:cubicBezTo>
                    <a:pt x="893" y="703"/>
                    <a:pt x="893" y="703"/>
                    <a:pt x="893" y="703"/>
                  </a:cubicBezTo>
                  <a:cubicBezTo>
                    <a:pt x="918" y="703"/>
                    <a:pt x="936" y="685"/>
                    <a:pt x="938" y="658"/>
                  </a:cubicBezTo>
                  <a:cubicBezTo>
                    <a:pt x="952" y="454"/>
                    <a:pt x="952" y="454"/>
                    <a:pt x="952" y="454"/>
                  </a:cubicBezTo>
                  <a:cubicBezTo>
                    <a:pt x="952" y="395"/>
                    <a:pt x="952" y="380"/>
                    <a:pt x="941" y="340"/>
                  </a:cubicBezTo>
                  <a:lnTo>
                    <a:pt x="1020" y="295"/>
                  </a:lnTo>
                  <a:close/>
                  <a:moveTo>
                    <a:pt x="300" y="505"/>
                  </a:moveTo>
                  <a:cubicBezTo>
                    <a:pt x="136" y="505"/>
                    <a:pt x="136" y="505"/>
                    <a:pt x="136" y="505"/>
                  </a:cubicBezTo>
                  <a:cubicBezTo>
                    <a:pt x="130" y="414"/>
                    <a:pt x="130" y="414"/>
                    <a:pt x="130" y="414"/>
                  </a:cubicBezTo>
                  <a:cubicBezTo>
                    <a:pt x="244" y="422"/>
                    <a:pt x="244" y="422"/>
                    <a:pt x="244" y="422"/>
                  </a:cubicBezTo>
                  <a:cubicBezTo>
                    <a:pt x="278" y="423"/>
                    <a:pt x="300" y="450"/>
                    <a:pt x="300" y="488"/>
                  </a:cubicBezTo>
                  <a:lnTo>
                    <a:pt x="300" y="505"/>
                  </a:lnTo>
                  <a:close/>
                  <a:moveTo>
                    <a:pt x="191" y="250"/>
                  </a:moveTo>
                  <a:cubicBezTo>
                    <a:pt x="281" y="85"/>
                    <a:pt x="281" y="85"/>
                    <a:pt x="281" y="85"/>
                  </a:cubicBezTo>
                  <a:cubicBezTo>
                    <a:pt x="289" y="69"/>
                    <a:pt x="291" y="69"/>
                    <a:pt x="308" y="69"/>
                  </a:cubicBezTo>
                  <a:cubicBezTo>
                    <a:pt x="713" y="69"/>
                    <a:pt x="713" y="69"/>
                    <a:pt x="713" y="69"/>
                  </a:cubicBezTo>
                  <a:cubicBezTo>
                    <a:pt x="730" y="69"/>
                    <a:pt x="731" y="69"/>
                    <a:pt x="739" y="85"/>
                  </a:cubicBezTo>
                  <a:cubicBezTo>
                    <a:pt x="830" y="250"/>
                    <a:pt x="830" y="250"/>
                    <a:pt x="830" y="250"/>
                  </a:cubicBezTo>
                  <a:cubicBezTo>
                    <a:pt x="830" y="250"/>
                    <a:pt x="830" y="250"/>
                    <a:pt x="830" y="250"/>
                  </a:cubicBezTo>
                  <a:cubicBezTo>
                    <a:pt x="510" y="272"/>
                    <a:pt x="510" y="272"/>
                    <a:pt x="510" y="272"/>
                  </a:cubicBezTo>
                  <a:lnTo>
                    <a:pt x="191" y="250"/>
                  </a:lnTo>
                  <a:close/>
                  <a:moveTo>
                    <a:pt x="884" y="505"/>
                  </a:moveTo>
                  <a:cubicBezTo>
                    <a:pt x="720" y="505"/>
                    <a:pt x="720" y="505"/>
                    <a:pt x="720" y="505"/>
                  </a:cubicBezTo>
                  <a:cubicBezTo>
                    <a:pt x="720" y="488"/>
                    <a:pt x="720" y="488"/>
                    <a:pt x="720" y="488"/>
                  </a:cubicBezTo>
                  <a:cubicBezTo>
                    <a:pt x="720" y="450"/>
                    <a:pt x="743" y="423"/>
                    <a:pt x="776" y="422"/>
                  </a:cubicBezTo>
                  <a:cubicBezTo>
                    <a:pt x="891" y="414"/>
                    <a:pt x="891" y="414"/>
                    <a:pt x="891" y="414"/>
                  </a:cubicBezTo>
                  <a:lnTo>
                    <a:pt x="884" y="505"/>
                  </a:lnTo>
                  <a:close/>
                </a:path>
              </a:pathLst>
            </a:custGeom>
            <a:solidFill>
              <a:srgbClr val="41AAA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sp>
          <p:nvSpPr>
            <p:cNvPr id="20" name="TextBox 6"/>
            <p:cNvSpPr txBox="1"/>
            <p:nvPr/>
          </p:nvSpPr>
          <p:spPr bwMode="gray">
            <a:xfrm>
              <a:off x="9785350" y="2246873"/>
              <a:ext cx="193039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Автомобильный выхлоп</a:t>
              </a:r>
              <a:endParaRPr lang="en-US" sz="16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34" name="Freeform 6"/>
            <p:cNvSpPr>
              <a:spLocks noChangeAspect="1" noEditPoints="1"/>
            </p:cNvSpPr>
            <p:nvPr/>
          </p:nvSpPr>
          <p:spPr bwMode="gray">
            <a:xfrm>
              <a:off x="8842374" y="2816630"/>
              <a:ext cx="743113" cy="519721"/>
            </a:xfrm>
            <a:custGeom>
              <a:avLst/>
              <a:gdLst>
                <a:gd name="T0" fmla="*/ 1066 w 1066"/>
                <a:gd name="T1" fmla="*/ 148 h 771"/>
                <a:gd name="T2" fmla="*/ 942 w 1066"/>
                <a:gd name="T3" fmla="*/ 272 h 771"/>
                <a:gd name="T4" fmla="*/ 827 w 1066"/>
                <a:gd name="T5" fmla="*/ 198 h 771"/>
                <a:gd name="T6" fmla="*/ 771 w 1066"/>
                <a:gd name="T7" fmla="*/ 227 h 771"/>
                <a:gd name="T8" fmla="*/ 704 w 1066"/>
                <a:gd name="T9" fmla="*/ 169 h 771"/>
                <a:gd name="T10" fmla="*/ 692 w 1066"/>
                <a:gd name="T11" fmla="*/ 170 h 771"/>
                <a:gd name="T12" fmla="*/ 653 w 1066"/>
                <a:gd name="T13" fmla="*/ 155 h 771"/>
                <a:gd name="T14" fmla="*/ 624 w 1066"/>
                <a:gd name="T15" fmla="*/ 170 h 771"/>
                <a:gd name="T16" fmla="*/ 590 w 1066"/>
                <a:gd name="T17" fmla="*/ 136 h 771"/>
                <a:gd name="T18" fmla="*/ 624 w 1066"/>
                <a:gd name="T19" fmla="*/ 102 h 771"/>
                <a:gd name="T20" fmla="*/ 636 w 1066"/>
                <a:gd name="T21" fmla="*/ 105 h 771"/>
                <a:gd name="T22" fmla="*/ 692 w 1066"/>
                <a:gd name="T23" fmla="*/ 57 h 771"/>
                <a:gd name="T24" fmla="*/ 729 w 1066"/>
                <a:gd name="T25" fmla="*/ 70 h 771"/>
                <a:gd name="T26" fmla="*/ 817 w 1066"/>
                <a:gd name="T27" fmla="*/ 0 h 771"/>
                <a:gd name="T28" fmla="*/ 888 w 1066"/>
                <a:gd name="T29" fmla="*/ 35 h 771"/>
                <a:gd name="T30" fmla="*/ 942 w 1066"/>
                <a:gd name="T31" fmla="*/ 23 h 771"/>
                <a:gd name="T32" fmla="*/ 1066 w 1066"/>
                <a:gd name="T33" fmla="*/ 148 h 771"/>
                <a:gd name="T34" fmla="*/ 545 w 1066"/>
                <a:gd name="T35" fmla="*/ 484 h 771"/>
                <a:gd name="T36" fmla="*/ 363 w 1066"/>
                <a:gd name="T37" fmla="*/ 389 h 771"/>
                <a:gd name="T38" fmla="*/ 363 w 1066"/>
                <a:gd name="T39" fmla="*/ 484 h 771"/>
                <a:gd name="T40" fmla="*/ 182 w 1066"/>
                <a:gd name="T41" fmla="*/ 389 h 771"/>
                <a:gd name="T42" fmla="*/ 182 w 1066"/>
                <a:gd name="T43" fmla="*/ 484 h 771"/>
                <a:gd name="T44" fmla="*/ 0 w 1066"/>
                <a:gd name="T45" fmla="*/ 389 h 771"/>
                <a:gd name="T46" fmla="*/ 0 w 1066"/>
                <a:gd name="T47" fmla="*/ 771 h 771"/>
                <a:gd name="T48" fmla="*/ 658 w 1066"/>
                <a:gd name="T49" fmla="*/ 771 h 771"/>
                <a:gd name="T50" fmla="*/ 658 w 1066"/>
                <a:gd name="T51" fmla="*/ 227 h 771"/>
                <a:gd name="T52" fmla="*/ 545 w 1066"/>
                <a:gd name="T53" fmla="*/ 227 h 771"/>
                <a:gd name="T54" fmla="*/ 545 w 1066"/>
                <a:gd name="T55" fmla="*/ 484 h 7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66" h="771">
                  <a:moveTo>
                    <a:pt x="1066" y="148"/>
                  </a:moveTo>
                  <a:cubicBezTo>
                    <a:pt x="1066" y="217"/>
                    <a:pt x="1010" y="272"/>
                    <a:pt x="942" y="272"/>
                  </a:cubicBezTo>
                  <a:cubicBezTo>
                    <a:pt x="890" y="272"/>
                    <a:pt x="847" y="242"/>
                    <a:pt x="827" y="198"/>
                  </a:cubicBezTo>
                  <a:cubicBezTo>
                    <a:pt x="815" y="216"/>
                    <a:pt x="795" y="227"/>
                    <a:pt x="771" y="227"/>
                  </a:cubicBezTo>
                  <a:cubicBezTo>
                    <a:pt x="737" y="227"/>
                    <a:pt x="709" y="202"/>
                    <a:pt x="704" y="169"/>
                  </a:cubicBezTo>
                  <a:cubicBezTo>
                    <a:pt x="700" y="170"/>
                    <a:pt x="696" y="170"/>
                    <a:pt x="692" y="170"/>
                  </a:cubicBezTo>
                  <a:cubicBezTo>
                    <a:pt x="677" y="170"/>
                    <a:pt x="663" y="164"/>
                    <a:pt x="653" y="155"/>
                  </a:cubicBezTo>
                  <a:cubicBezTo>
                    <a:pt x="647" y="164"/>
                    <a:pt x="636" y="170"/>
                    <a:pt x="624" y="170"/>
                  </a:cubicBezTo>
                  <a:cubicBezTo>
                    <a:pt x="605" y="170"/>
                    <a:pt x="590" y="155"/>
                    <a:pt x="590" y="136"/>
                  </a:cubicBezTo>
                  <a:cubicBezTo>
                    <a:pt x="590" y="118"/>
                    <a:pt x="605" y="102"/>
                    <a:pt x="624" y="102"/>
                  </a:cubicBezTo>
                  <a:cubicBezTo>
                    <a:pt x="628" y="102"/>
                    <a:pt x="632" y="103"/>
                    <a:pt x="636" y="105"/>
                  </a:cubicBezTo>
                  <a:cubicBezTo>
                    <a:pt x="641" y="78"/>
                    <a:pt x="664" y="57"/>
                    <a:pt x="692" y="57"/>
                  </a:cubicBezTo>
                  <a:cubicBezTo>
                    <a:pt x="706" y="57"/>
                    <a:pt x="719" y="62"/>
                    <a:pt x="729" y="70"/>
                  </a:cubicBezTo>
                  <a:cubicBezTo>
                    <a:pt x="738" y="30"/>
                    <a:pt x="774" y="0"/>
                    <a:pt x="817" y="0"/>
                  </a:cubicBezTo>
                  <a:cubicBezTo>
                    <a:pt x="846" y="0"/>
                    <a:pt x="872" y="14"/>
                    <a:pt x="888" y="35"/>
                  </a:cubicBezTo>
                  <a:cubicBezTo>
                    <a:pt x="904" y="27"/>
                    <a:pt x="922" y="23"/>
                    <a:pt x="942" y="23"/>
                  </a:cubicBezTo>
                  <a:cubicBezTo>
                    <a:pt x="1010" y="23"/>
                    <a:pt x="1066" y="79"/>
                    <a:pt x="1066" y="148"/>
                  </a:cubicBezTo>
                  <a:close/>
                  <a:moveTo>
                    <a:pt x="545" y="484"/>
                  </a:moveTo>
                  <a:cubicBezTo>
                    <a:pt x="363" y="389"/>
                    <a:pt x="363" y="389"/>
                    <a:pt x="363" y="389"/>
                  </a:cubicBezTo>
                  <a:cubicBezTo>
                    <a:pt x="363" y="484"/>
                    <a:pt x="363" y="484"/>
                    <a:pt x="363" y="484"/>
                  </a:cubicBezTo>
                  <a:cubicBezTo>
                    <a:pt x="182" y="389"/>
                    <a:pt x="182" y="389"/>
                    <a:pt x="182" y="389"/>
                  </a:cubicBezTo>
                  <a:cubicBezTo>
                    <a:pt x="182" y="484"/>
                    <a:pt x="182" y="484"/>
                    <a:pt x="182" y="484"/>
                  </a:cubicBezTo>
                  <a:cubicBezTo>
                    <a:pt x="0" y="389"/>
                    <a:pt x="0" y="389"/>
                    <a:pt x="0" y="389"/>
                  </a:cubicBezTo>
                  <a:cubicBezTo>
                    <a:pt x="0" y="771"/>
                    <a:pt x="0" y="771"/>
                    <a:pt x="0" y="771"/>
                  </a:cubicBezTo>
                  <a:cubicBezTo>
                    <a:pt x="658" y="771"/>
                    <a:pt x="658" y="771"/>
                    <a:pt x="658" y="771"/>
                  </a:cubicBezTo>
                  <a:cubicBezTo>
                    <a:pt x="658" y="227"/>
                    <a:pt x="658" y="227"/>
                    <a:pt x="658" y="227"/>
                  </a:cubicBezTo>
                  <a:cubicBezTo>
                    <a:pt x="545" y="227"/>
                    <a:pt x="545" y="227"/>
                    <a:pt x="545" y="227"/>
                  </a:cubicBezTo>
                  <a:lnTo>
                    <a:pt x="545" y="484"/>
                  </a:lnTo>
                  <a:close/>
                </a:path>
              </a:pathLst>
            </a:custGeom>
            <a:solidFill>
              <a:srgbClr val="41AAAA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grpSp>
          <p:nvGrpSpPr>
            <p:cNvPr id="4" name="Gruppieren 34"/>
            <p:cNvGrpSpPr>
              <a:grpSpLocks/>
            </p:cNvGrpSpPr>
            <p:nvPr/>
          </p:nvGrpSpPr>
          <p:grpSpPr bwMode="gray">
            <a:xfrm>
              <a:off x="8842374" y="4263263"/>
              <a:ext cx="685746" cy="452483"/>
              <a:chOff x="8895783" y="2659075"/>
              <a:chExt cx="1108700" cy="758296"/>
            </a:xfrm>
            <a:solidFill>
              <a:srgbClr val="00646E"/>
            </a:solidFill>
          </p:grpSpPr>
          <p:sp>
            <p:nvSpPr>
              <p:cNvPr id="36" name="Freeform 393"/>
              <p:cNvSpPr>
                <a:spLocks noChangeAspect="1"/>
              </p:cNvSpPr>
              <p:nvPr/>
            </p:nvSpPr>
            <p:spPr bwMode="gray">
              <a:xfrm>
                <a:off x="9517678" y="2659075"/>
                <a:ext cx="486805" cy="758296"/>
              </a:xfrm>
              <a:custGeom>
                <a:avLst/>
                <a:gdLst>
                  <a:gd name="T0" fmla="*/ 214 w 393"/>
                  <a:gd name="T1" fmla="*/ 0 h 619"/>
                  <a:gd name="T2" fmla="*/ 50 w 393"/>
                  <a:gd name="T3" fmla="*/ 296 h 619"/>
                  <a:gd name="T4" fmla="*/ 139 w 393"/>
                  <a:gd name="T5" fmla="*/ 579 h 619"/>
                  <a:gd name="T6" fmla="*/ 189 w 393"/>
                  <a:gd name="T7" fmla="*/ 354 h 619"/>
                  <a:gd name="T8" fmla="*/ 221 w 393"/>
                  <a:gd name="T9" fmla="*/ 510 h 619"/>
                  <a:gd name="T10" fmla="*/ 248 w 393"/>
                  <a:gd name="T11" fmla="*/ 451 h 619"/>
                  <a:gd name="T12" fmla="*/ 207 w 393"/>
                  <a:gd name="T13" fmla="*/ 619 h 619"/>
                  <a:gd name="T14" fmla="*/ 359 w 393"/>
                  <a:gd name="T15" fmla="*/ 484 h 619"/>
                  <a:gd name="T16" fmla="*/ 286 w 393"/>
                  <a:gd name="T17" fmla="*/ 200 h 619"/>
                  <a:gd name="T18" fmla="*/ 248 w 393"/>
                  <a:gd name="T19" fmla="*/ 285 h 619"/>
                  <a:gd name="T20" fmla="*/ 214 w 393"/>
                  <a:gd name="T21" fmla="*/ 0 h 6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393" h="619">
                    <a:moveTo>
                      <a:pt x="214" y="0"/>
                    </a:moveTo>
                    <a:cubicBezTo>
                      <a:pt x="203" y="78"/>
                      <a:pt x="104" y="149"/>
                      <a:pt x="50" y="296"/>
                    </a:cubicBezTo>
                    <a:cubicBezTo>
                      <a:pt x="0" y="429"/>
                      <a:pt x="42" y="545"/>
                      <a:pt x="139" y="579"/>
                    </a:cubicBezTo>
                    <a:cubicBezTo>
                      <a:pt x="85" y="490"/>
                      <a:pt x="152" y="384"/>
                      <a:pt x="189" y="354"/>
                    </a:cubicBezTo>
                    <a:cubicBezTo>
                      <a:pt x="181" y="394"/>
                      <a:pt x="193" y="465"/>
                      <a:pt x="221" y="510"/>
                    </a:cubicBezTo>
                    <a:cubicBezTo>
                      <a:pt x="231" y="500"/>
                      <a:pt x="243" y="476"/>
                      <a:pt x="248" y="451"/>
                    </a:cubicBezTo>
                    <a:cubicBezTo>
                      <a:pt x="248" y="451"/>
                      <a:pt x="321" y="550"/>
                      <a:pt x="207" y="619"/>
                    </a:cubicBezTo>
                    <a:cubicBezTo>
                      <a:pt x="207" y="619"/>
                      <a:pt x="325" y="601"/>
                      <a:pt x="359" y="484"/>
                    </a:cubicBezTo>
                    <a:cubicBezTo>
                      <a:pt x="393" y="369"/>
                      <a:pt x="339" y="287"/>
                      <a:pt x="286" y="200"/>
                    </a:cubicBezTo>
                    <a:cubicBezTo>
                      <a:pt x="273" y="218"/>
                      <a:pt x="253" y="258"/>
                      <a:pt x="248" y="285"/>
                    </a:cubicBezTo>
                    <a:cubicBezTo>
                      <a:pt x="182" y="203"/>
                      <a:pt x="270" y="141"/>
                      <a:pt x="214" y="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37" name="Freeform 395"/>
              <p:cNvSpPr>
                <a:spLocks noChangeAspect="1" noEditPoints="1"/>
              </p:cNvSpPr>
              <p:nvPr/>
            </p:nvSpPr>
            <p:spPr bwMode="gray">
              <a:xfrm>
                <a:off x="8895783" y="2659075"/>
                <a:ext cx="422483" cy="758296"/>
              </a:xfrm>
              <a:custGeom>
                <a:avLst/>
                <a:gdLst>
                  <a:gd name="T0" fmla="*/ 151 w 303"/>
                  <a:gd name="T1" fmla="*/ 0 h 532"/>
                  <a:gd name="T2" fmla="*/ 303 w 303"/>
                  <a:gd name="T3" fmla="*/ 380 h 532"/>
                  <a:gd name="T4" fmla="*/ 151 w 303"/>
                  <a:gd name="T5" fmla="*/ 532 h 532"/>
                  <a:gd name="T6" fmla="*/ 0 w 303"/>
                  <a:gd name="T7" fmla="*/ 380 h 532"/>
                  <a:gd name="T8" fmla="*/ 151 w 303"/>
                  <a:gd name="T9" fmla="*/ 0 h 532"/>
                  <a:gd name="T10" fmla="*/ 41 w 303"/>
                  <a:gd name="T11" fmla="*/ 380 h 532"/>
                  <a:gd name="T12" fmla="*/ 61 w 303"/>
                  <a:gd name="T13" fmla="*/ 317 h 532"/>
                  <a:gd name="T14" fmla="*/ 60 w 303"/>
                  <a:gd name="T15" fmla="*/ 327 h 532"/>
                  <a:gd name="T16" fmla="*/ 202 w 303"/>
                  <a:gd name="T17" fmla="*/ 469 h 532"/>
                  <a:gd name="T18" fmla="*/ 219 w 303"/>
                  <a:gd name="T19" fmla="*/ 468 h 532"/>
                  <a:gd name="T20" fmla="*/ 151 w 303"/>
                  <a:gd name="T21" fmla="*/ 491 h 532"/>
                  <a:gd name="T22" fmla="*/ 41 w 303"/>
                  <a:gd name="T23" fmla="*/ 380 h 5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303" h="532">
                    <a:moveTo>
                      <a:pt x="151" y="0"/>
                    </a:moveTo>
                    <a:cubicBezTo>
                      <a:pt x="183" y="146"/>
                      <a:pt x="303" y="268"/>
                      <a:pt x="303" y="380"/>
                    </a:cubicBezTo>
                    <a:cubicBezTo>
                      <a:pt x="303" y="464"/>
                      <a:pt x="235" y="532"/>
                      <a:pt x="151" y="532"/>
                    </a:cubicBezTo>
                    <a:cubicBezTo>
                      <a:pt x="67" y="532"/>
                      <a:pt x="0" y="464"/>
                      <a:pt x="0" y="380"/>
                    </a:cubicBezTo>
                    <a:cubicBezTo>
                      <a:pt x="0" y="268"/>
                      <a:pt x="120" y="146"/>
                      <a:pt x="151" y="0"/>
                    </a:cubicBezTo>
                    <a:close/>
                    <a:moveTo>
                      <a:pt x="41" y="380"/>
                    </a:moveTo>
                    <a:cubicBezTo>
                      <a:pt x="41" y="357"/>
                      <a:pt x="48" y="335"/>
                      <a:pt x="61" y="317"/>
                    </a:cubicBezTo>
                    <a:cubicBezTo>
                      <a:pt x="61" y="320"/>
                      <a:pt x="60" y="324"/>
                      <a:pt x="60" y="327"/>
                    </a:cubicBezTo>
                    <a:cubicBezTo>
                      <a:pt x="60" y="405"/>
                      <a:pt x="124" y="469"/>
                      <a:pt x="202" y="469"/>
                    </a:cubicBezTo>
                    <a:cubicBezTo>
                      <a:pt x="208" y="469"/>
                      <a:pt x="213" y="468"/>
                      <a:pt x="219" y="468"/>
                    </a:cubicBezTo>
                    <a:cubicBezTo>
                      <a:pt x="200" y="482"/>
                      <a:pt x="177" y="491"/>
                      <a:pt x="151" y="491"/>
                    </a:cubicBezTo>
                    <a:cubicBezTo>
                      <a:pt x="90" y="491"/>
                      <a:pt x="41" y="441"/>
                      <a:pt x="41" y="380"/>
                    </a:cubicBezTo>
                    <a:close/>
                  </a:path>
                </a:pathLst>
              </a:custGeom>
              <a:solidFill>
                <a:srgbClr val="41AAAA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algn="ctr"/>
                <a:endParaRPr lang="en-US"/>
              </a:p>
            </p:txBody>
          </p:sp>
        </p:grpSp>
        <p:sp>
          <p:nvSpPr>
            <p:cNvPr id="39" name="Freeform 7"/>
            <p:cNvSpPr>
              <a:spLocks noEditPoints="1"/>
            </p:cNvSpPr>
            <p:nvPr/>
          </p:nvSpPr>
          <p:spPr bwMode="gray">
            <a:xfrm>
              <a:off x="8842374" y="4948029"/>
              <a:ext cx="496888" cy="495972"/>
            </a:xfrm>
            <a:custGeom>
              <a:avLst/>
              <a:gdLst>
                <a:gd name="T0" fmla="*/ 1 w 597"/>
                <a:gd name="T1" fmla="*/ 276 h 597"/>
                <a:gd name="T2" fmla="*/ 299 w 597"/>
                <a:gd name="T3" fmla="*/ 597 h 597"/>
                <a:gd name="T4" fmla="*/ 559 w 597"/>
                <a:gd name="T5" fmla="*/ 233 h 597"/>
                <a:gd name="T6" fmla="*/ 549 w 597"/>
                <a:gd name="T7" fmla="*/ 243 h 597"/>
                <a:gd name="T8" fmla="*/ 559 w 597"/>
                <a:gd name="T9" fmla="*/ 233 h 597"/>
                <a:gd name="T10" fmla="*/ 15 w 597"/>
                <a:gd name="T11" fmla="*/ 287 h 597"/>
                <a:gd name="T12" fmla="*/ 81 w 597"/>
                <a:gd name="T13" fmla="*/ 351 h 597"/>
                <a:gd name="T14" fmla="*/ 120 w 597"/>
                <a:gd name="T15" fmla="*/ 440 h 597"/>
                <a:gd name="T16" fmla="*/ 138 w 597"/>
                <a:gd name="T17" fmla="*/ 532 h 597"/>
                <a:gd name="T18" fmla="*/ 566 w 597"/>
                <a:gd name="T19" fmla="*/ 393 h 597"/>
                <a:gd name="T20" fmla="*/ 517 w 597"/>
                <a:gd name="T21" fmla="*/ 480 h 597"/>
                <a:gd name="T22" fmla="*/ 299 w 597"/>
                <a:gd name="T23" fmla="*/ 582 h 597"/>
                <a:gd name="T24" fmla="*/ 176 w 597"/>
                <a:gd name="T25" fmla="*/ 519 h 597"/>
                <a:gd name="T26" fmla="*/ 230 w 597"/>
                <a:gd name="T27" fmla="*/ 461 h 597"/>
                <a:gd name="T28" fmla="*/ 242 w 597"/>
                <a:gd name="T29" fmla="*/ 398 h 597"/>
                <a:gd name="T30" fmla="*/ 212 w 597"/>
                <a:gd name="T31" fmla="*/ 360 h 597"/>
                <a:gd name="T32" fmla="*/ 159 w 597"/>
                <a:gd name="T33" fmla="*/ 318 h 597"/>
                <a:gd name="T34" fmla="*/ 91 w 597"/>
                <a:gd name="T35" fmla="*/ 294 h 597"/>
                <a:gd name="T36" fmla="*/ 63 w 597"/>
                <a:gd name="T37" fmla="*/ 304 h 597"/>
                <a:gd name="T38" fmla="*/ 48 w 597"/>
                <a:gd name="T39" fmla="*/ 272 h 597"/>
                <a:gd name="T40" fmla="*/ 138 w 597"/>
                <a:gd name="T41" fmla="*/ 249 h 597"/>
                <a:gd name="T42" fmla="*/ 34 w 597"/>
                <a:gd name="T43" fmla="*/ 266 h 597"/>
                <a:gd name="T44" fmla="*/ 88 w 597"/>
                <a:gd name="T45" fmla="*/ 213 h 597"/>
                <a:gd name="T46" fmla="*/ 178 w 597"/>
                <a:gd name="T47" fmla="*/ 145 h 597"/>
                <a:gd name="T48" fmla="*/ 202 w 597"/>
                <a:gd name="T49" fmla="*/ 142 h 597"/>
                <a:gd name="T50" fmla="*/ 175 w 597"/>
                <a:gd name="T51" fmla="*/ 80 h 597"/>
                <a:gd name="T52" fmla="*/ 104 w 597"/>
                <a:gd name="T53" fmla="*/ 105 h 597"/>
                <a:gd name="T54" fmla="*/ 167 w 597"/>
                <a:gd name="T55" fmla="*/ 47 h 597"/>
                <a:gd name="T56" fmla="*/ 244 w 597"/>
                <a:gd name="T57" fmla="*/ 83 h 597"/>
                <a:gd name="T58" fmla="*/ 311 w 597"/>
                <a:gd name="T59" fmla="*/ 72 h 597"/>
                <a:gd name="T60" fmla="*/ 342 w 597"/>
                <a:gd name="T61" fmla="*/ 39 h 597"/>
                <a:gd name="T62" fmla="*/ 201 w 597"/>
                <a:gd name="T63" fmla="*/ 32 h 597"/>
                <a:gd name="T64" fmla="*/ 477 w 597"/>
                <a:gd name="T65" fmla="*/ 78 h 597"/>
                <a:gd name="T66" fmla="*/ 374 w 597"/>
                <a:gd name="T67" fmla="*/ 82 h 597"/>
                <a:gd name="T68" fmla="*/ 416 w 597"/>
                <a:gd name="T69" fmla="*/ 92 h 597"/>
                <a:gd name="T70" fmla="*/ 363 w 597"/>
                <a:gd name="T71" fmla="*/ 124 h 597"/>
                <a:gd name="T72" fmla="*/ 359 w 597"/>
                <a:gd name="T73" fmla="*/ 145 h 597"/>
                <a:gd name="T74" fmla="*/ 329 w 597"/>
                <a:gd name="T75" fmla="*/ 183 h 597"/>
                <a:gd name="T76" fmla="*/ 403 w 597"/>
                <a:gd name="T77" fmla="*/ 173 h 597"/>
                <a:gd name="T78" fmla="*/ 482 w 597"/>
                <a:gd name="T79" fmla="*/ 221 h 597"/>
                <a:gd name="T80" fmla="*/ 408 w 597"/>
                <a:gd name="T81" fmla="*/ 209 h 597"/>
                <a:gd name="T82" fmla="*/ 315 w 597"/>
                <a:gd name="T83" fmla="*/ 228 h 597"/>
                <a:gd name="T84" fmla="*/ 320 w 597"/>
                <a:gd name="T85" fmla="*/ 335 h 597"/>
                <a:gd name="T86" fmla="*/ 408 w 597"/>
                <a:gd name="T87" fmla="*/ 401 h 597"/>
                <a:gd name="T88" fmla="*/ 505 w 597"/>
                <a:gd name="T89" fmla="*/ 430 h 597"/>
                <a:gd name="T90" fmla="*/ 537 w 597"/>
                <a:gd name="T91" fmla="*/ 304 h 597"/>
                <a:gd name="T92" fmla="*/ 582 w 597"/>
                <a:gd name="T93" fmla="*/ 298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597" h="597">
                  <a:moveTo>
                    <a:pt x="299" y="0"/>
                  </a:moveTo>
                  <a:cubicBezTo>
                    <a:pt x="141" y="0"/>
                    <a:pt x="12" y="121"/>
                    <a:pt x="1" y="276"/>
                  </a:cubicBezTo>
                  <a:cubicBezTo>
                    <a:pt x="1" y="276"/>
                    <a:pt x="1" y="276"/>
                    <a:pt x="1" y="276"/>
                  </a:cubicBezTo>
                  <a:cubicBezTo>
                    <a:pt x="1" y="276"/>
                    <a:pt x="1" y="276"/>
                    <a:pt x="1" y="276"/>
                  </a:cubicBezTo>
                  <a:cubicBezTo>
                    <a:pt x="0" y="283"/>
                    <a:pt x="0" y="291"/>
                    <a:pt x="0" y="298"/>
                  </a:cubicBezTo>
                  <a:cubicBezTo>
                    <a:pt x="0" y="463"/>
                    <a:pt x="134" y="597"/>
                    <a:pt x="299" y="597"/>
                  </a:cubicBezTo>
                  <a:cubicBezTo>
                    <a:pt x="464" y="597"/>
                    <a:pt x="597" y="463"/>
                    <a:pt x="597" y="298"/>
                  </a:cubicBezTo>
                  <a:cubicBezTo>
                    <a:pt x="597" y="133"/>
                    <a:pt x="464" y="0"/>
                    <a:pt x="299" y="0"/>
                  </a:cubicBezTo>
                  <a:close/>
                  <a:moveTo>
                    <a:pt x="559" y="233"/>
                  </a:moveTo>
                  <a:cubicBezTo>
                    <a:pt x="575" y="233"/>
                    <a:pt x="575" y="233"/>
                    <a:pt x="575" y="233"/>
                  </a:cubicBezTo>
                  <a:cubicBezTo>
                    <a:pt x="576" y="236"/>
                    <a:pt x="576" y="240"/>
                    <a:pt x="577" y="243"/>
                  </a:cubicBezTo>
                  <a:cubicBezTo>
                    <a:pt x="549" y="243"/>
                    <a:pt x="549" y="243"/>
                    <a:pt x="549" y="243"/>
                  </a:cubicBezTo>
                  <a:cubicBezTo>
                    <a:pt x="538" y="233"/>
                    <a:pt x="538" y="233"/>
                    <a:pt x="538" y="233"/>
                  </a:cubicBezTo>
                  <a:cubicBezTo>
                    <a:pt x="531" y="212"/>
                    <a:pt x="531" y="212"/>
                    <a:pt x="531" y="212"/>
                  </a:cubicBezTo>
                  <a:lnTo>
                    <a:pt x="559" y="233"/>
                  </a:lnTo>
                  <a:close/>
                  <a:moveTo>
                    <a:pt x="37" y="409"/>
                  </a:moveTo>
                  <a:cubicBezTo>
                    <a:pt x="22" y="374"/>
                    <a:pt x="15" y="337"/>
                    <a:pt x="15" y="298"/>
                  </a:cubicBezTo>
                  <a:cubicBezTo>
                    <a:pt x="15" y="294"/>
                    <a:pt x="15" y="290"/>
                    <a:pt x="15" y="287"/>
                  </a:cubicBezTo>
                  <a:cubicBezTo>
                    <a:pt x="54" y="315"/>
                    <a:pt x="54" y="315"/>
                    <a:pt x="54" y="315"/>
                  </a:cubicBezTo>
                  <a:cubicBezTo>
                    <a:pt x="81" y="332"/>
                    <a:pt x="81" y="332"/>
                    <a:pt x="81" y="332"/>
                  </a:cubicBezTo>
                  <a:cubicBezTo>
                    <a:pt x="81" y="351"/>
                    <a:pt x="81" y="351"/>
                    <a:pt x="81" y="351"/>
                  </a:cubicBezTo>
                  <a:cubicBezTo>
                    <a:pt x="63" y="369"/>
                    <a:pt x="63" y="369"/>
                    <a:pt x="63" y="369"/>
                  </a:cubicBezTo>
                  <a:cubicBezTo>
                    <a:pt x="90" y="430"/>
                    <a:pt x="90" y="430"/>
                    <a:pt x="90" y="430"/>
                  </a:cubicBezTo>
                  <a:cubicBezTo>
                    <a:pt x="120" y="440"/>
                    <a:pt x="120" y="440"/>
                    <a:pt x="120" y="440"/>
                  </a:cubicBezTo>
                  <a:cubicBezTo>
                    <a:pt x="129" y="503"/>
                    <a:pt x="129" y="503"/>
                    <a:pt x="129" y="503"/>
                  </a:cubicBezTo>
                  <a:cubicBezTo>
                    <a:pt x="151" y="519"/>
                    <a:pt x="151" y="519"/>
                    <a:pt x="151" y="519"/>
                  </a:cubicBezTo>
                  <a:cubicBezTo>
                    <a:pt x="138" y="532"/>
                    <a:pt x="138" y="532"/>
                    <a:pt x="138" y="532"/>
                  </a:cubicBezTo>
                  <a:cubicBezTo>
                    <a:pt x="124" y="522"/>
                    <a:pt x="110" y="511"/>
                    <a:pt x="98" y="499"/>
                  </a:cubicBezTo>
                  <a:cubicBezTo>
                    <a:pt x="72" y="473"/>
                    <a:pt x="52" y="443"/>
                    <a:pt x="37" y="409"/>
                  </a:cubicBezTo>
                  <a:close/>
                  <a:moveTo>
                    <a:pt x="566" y="393"/>
                  </a:moveTo>
                  <a:cubicBezTo>
                    <a:pt x="531" y="415"/>
                    <a:pt x="531" y="415"/>
                    <a:pt x="531" y="415"/>
                  </a:cubicBezTo>
                  <a:cubicBezTo>
                    <a:pt x="517" y="456"/>
                    <a:pt x="517" y="456"/>
                    <a:pt x="517" y="456"/>
                  </a:cubicBezTo>
                  <a:cubicBezTo>
                    <a:pt x="517" y="480"/>
                    <a:pt x="517" y="480"/>
                    <a:pt x="517" y="480"/>
                  </a:cubicBezTo>
                  <a:cubicBezTo>
                    <a:pt x="511" y="486"/>
                    <a:pt x="505" y="493"/>
                    <a:pt x="499" y="499"/>
                  </a:cubicBezTo>
                  <a:cubicBezTo>
                    <a:pt x="473" y="525"/>
                    <a:pt x="443" y="545"/>
                    <a:pt x="409" y="560"/>
                  </a:cubicBezTo>
                  <a:cubicBezTo>
                    <a:pt x="374" y="575"/>
                    <a:pt x="337" y="582"/>
                    <a:pt x="299" y="582"/>
                  </a:cubicBezTo>
                  <a:cubicBezTo>
                    <a:pt x="260" y="582"/>
                    <a:pt x="223" y="575"/>
                    <a:pt x="188" y="560"/>
                  </a:cubicBezTo>
                  <a:cubicBezTo>
                    <a:pt x="181" y="557"/>
                    <a:pt x="174" y="553"/>
                    <a:pt x="167" y="550"/>
                  </a:cubicBezTo>
                  <a:cubicBezTo>
                    <a:pt x="176" y="519"/>
                    <a:pt x="176" y="519"/>
                    <a:pt x="176" y="519"/>
                  </a:cubicBezTo>
                  <a:cubicBezTo>
                    <a:pt x="190" y="506"/>
                    <a:pt x="190" y="506"/>
                    <a:pt x="190" y="506"/>
                  </a:cubicBezTo>
                  <a:cubicBezTo>
                    <a:pt x="211" y="461"/>
                    <a:pt x="211" y="461"/>
                    <a:pt x="211" y="461"/>
                  </a:cubicBezTo>
                  <a:cubicBezTo>
                    <a:pt x="230" y="461"/>
                    <a:pt x="230" y="461"/>
                    <a:pt x="230" y="461"/>
                  </a:cubicBezTo>
                  <a:cubicBezTo>
                    <a:pt x="242" y="449"/>
                    <a:pt x="242" y="449"/>
                    <a:pt x="242" y="449"/>
                  </a:cubicBezTo>
                  <a:cubicBezTo>
                    <a:pt x="242" y="413"/>
                    <a:pt x="242" y="413"/>
                    <a:pt x="242" y="413"/>
                  </a:cubicBezTo>
                  <a:cubicBezTo>
                    <a:pt x="242" y="398"/>
                    <a:pt x="242" y="398"/>
                    <a:pt x="242" y="398"/>
                  </a:cubicBezTo>
                  <a:cubicBezTo>
                    <a:pt x="255" y="398"/>
                    <a:pt x="255" y="398"/>
                    <a:pt x="255" y="398"/>
                  </a:cubicBezTo>
                  <a:cubicBezTo>
                    <a:pt x="255" y="367"/>
                    <a:pt x="255" y="367"/>
                    <a:pt x="255" y="367"/>
                  </a:cubicBezTo>
                  <a:cubicBezTo>
                    <a:pt x="212" y="360"/>
                    <a:pt x="212" y="360"/>
                    <a:pt x="212" y="360"/>
                  </a:cubicBezTo>
                  <a:cubicBezTo>
                    <a:pt x="194" y="342"/>
                    <a:pt x="194" y="342"/>
                    <a:pt x="194" y="342"/>
                  </a:cubicBezTo>
                  <a:cubicBezTo>
                    <a:pt x="194" y="322"/>
                    <a:pt x="194" y="322"/>
                    <a:pt x="194" y="322"/>
                  </a:cubicBezTo>
                  <a:cubicBezTo>
                    <a:pt x="159" y="318"/>
                    <a:pt x="159" y="318"/>
                    <a:pt x="159" y="318"/>
                  </a:cubicBezTo>
                  <a:cubicBezTo>
                    <a:pt x="140" y="298"/>
                    <a:pt x="140" y="298"/>
                    <a:pt x="140" y="298"/>
                  </a:cubicBezTo>
                  <a:cubicBezTo>
                    <a:pt x="115" y="294"/>
                    <a:pt x="115" y="294"/>
                    <a:pt x="115" y="294"/>
                  </a:cubicBezTo>
                  <a:cubicBezTo>
                    <a:pt x="91" y="294"/>
                    <a:pt x="91" y="294"/>
                    <a:pt x="91" y="294"/>
                  </a:cubicBezTo>
                  <a:cubicBezTo>
                    <a:pt x="81" y="304"/>
                    <a:pt x="81" y="304"/>
                    <a:pt x="81" y="304"/>
                  </a:cubicBezTo>
                  <a:cubicBezTo>
                    <a:pt x="81" y="304"/>
                    <a:pt x="81" y="304"/>
                    <a:pt x="81" y="304"/>
                  </a:cubicBezTo>
                  <a:cubicBezTo>
                    <a:pt x="63" y="304"/>
                    <a:pt x="63" y="304"/>
                    <a:pt x="63" y="304"/>
                  </a:cubicBezTo>
                  <a:cubicBezTo>
                    <a:pt x="63" y="286"/>
                    <a:pt x="63" y="286"/>
                    <a:pt x="63" y="286"/>
                  </a:cubicBezTo>
                  <a:cubicBezTo>
                    <a:pt x="48" y="286"/>
                    <a:pt x="48" y="286"/>
                    <a:pt x="48" y="286"/>
                  </a:cubicBezTo>
                  <a:cubicBezTo>
                    <a:pt x="48" y="272"/>
                    <a:pt x="48" y="272"/>
                    <a:pt x="48" y="272"/>
                  </a:cubicBezTo>
                  <a:cubicBezTo>
                    <a:pt x="77" y="249"/>
                    <a:pt x="77" y="249"/>
                    <a:pt x="77" y="249"/>
                  </a:cubicBezTo>
                  <a:cubicBezTo>
                    <a:pt x="130" y="266"/>
                    <a:pt x="130" y="266"/>
                    <a:pt x="130" y="266"/>
                  </a:cubicBezTo>
                  <a:cubicBezTo>
                    <a:pt x="138" y="249"/>
                    <a:pt x="138" y="249"/>
                    <a:pt x="138" y="249"/>
                  </a:cubicBezTo>
                  <a:cubicBezTo>
                    <a:pt x="93" y="233"/>
                    <a:pt x="93" y="233"/>
                    <a:pt x="93" y="233"/>
                  </a:cubicBezTo>
                  <a:cubicBezTo>
                    <a:pt x="55" y="245"/>
                    <a:pt x="55" y="245"/>
                    <a:pt x="55" y="245"/>
                  </a:cubicBezTo>
                  <a:cubicBezTo>
                    <a:pt x="34" y="266"/>
                    <a:pt x="34" y="266"/>
                    <a:pt x="34" y="266"/>
                  </a:cubicBezTo>
                  <a:cubicBezTo>
                    <a:pt x="17" y="266"/>
                    <a:pt x="17" y="266"/>
                    <a:pt x="17" y="266"/>
                  </a:cubicBezTo>
                  <a:cubicBezTo>
                    <a:pt x="19" y="248"/>
                    <a:pt x="23" y="230"/>
                    <a:pt x="28" y="213"/>
                  </a:cubicBezTo>
                  <a:cubicBezTo>
                    <a:pt x="88" y="213"/>
                    <a:pt x="88" y="213"/>
                    <a:pt x="88" y="213"/>
                  </a:cubicBezTo>
                  <a:cubicBezTo>
                    <a:pt x="149" y="145"/>
                    <a:pt x="149" y="145"/>
                    <a:pt x="149" y="145"/>
                  </a:cubicBezTo>
                  <a:cubicBezTo>
                    <a:pt x="170" y="153"/>
                    <a:pt x="170" y="153"/>
                    <a:pt x="170" y="153"/>
                  </a:cubicBezTo>
                  <a:cubicBezTo>
                    <a:pt x="178" y="145"/>
                    <a:pt x="178" y="145"/>
                    <a:pt x="178" y="145"/>
                  </a:cubicBezTo>
                  <a:cubicBezTo>
                    <a:pt x="164" y="125"/>
                    <a:pt x="164" y="125"/>
                    <a:pt x="164" y="125"/>
                  </a:cubicBezTo>
                  <a:cubicBezTo>
                    <a:pt x="188" y="115"/>
                    <a:pt x="188" y="115"/>
                    <a:pt x="188" y="115"/>
                  </a:cubicBezTo>
                  <a:cubicBezTo>
                    <a:pt x="202" y="142"/>
                    <a:pt x="202" y="142"/>
                    <a:pt x="202" y="142"/>
                  </a:cubicBezTo>
                  <a:cubicBezTo>
                    <a:pt x="218" y="142"/>
                    <a:pt x="218" y="142"/>
                    <a:pt x="218" y="142"/>
                  </a:cubicBezTo>
                  <a:cubicBezTo>
                    <a:pt x="218" y="115"/>
                    <a:pt x="218" y="115"/>
                    <a:pt x="218" y="115"/>
                  </a:cubicBezTo>
                  <a:cubicBezTo>
                    <a:pt x="175" y="80"/>
                    <a:pt x="175" y="80"/>
                    <a:pt x="175" y="80"/>
                  </a:cubicBezTo>
                  <a:cubicBezTo>
                    <a:pt x="148" y="80"/>
                    <a:pt x="148" y="80"/>
                    <a:pt x="148" y="80"/>
                  </a:cubicBezTo>
                  <a:cubicBezTo>
                    <a:pt x="124" y="125"/>
                    <a:pt x="124" y="125"/>
                    <a:pt x="124" y="125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97" y="98"/>
                    <a:pt x="97" y="98"/>
                    <a:pt x="97" y="98"/>
                  </a:cubicBezTo>
                  <a:cubicBezTo>
                    <a:pt x="98" y="98"/>
                    <a:pt x="98" y="98"/>
                    <a:pt x="98" y="98"/>
                  </a:cubicBezTo>
                  <a:cubicBezTo>
                    <a:pt x="118" y="77"/>
                    <a:pt x="142" y="60"/>
                    <a:pt x="167" y="47"/>
                  </a:cubicBezTo>
                  <a:cubicBezTo>
                    <a:pt x="227" y="46"/>
                    <a:pt x="227" y="46"/>
                    <a:pt x="227" y="46"/>
                  </a:cubicBezTo>
                  <a:cubicBezTo>
                    <a:pt x="244" y="63"/>
                    <a:pt x="244" y="63"/>
                    <a:pt x="244" y="63"/>
                  </a:cubicBezTo>
                  <a:cubicBezTo>
                    <a:pt x="244" y="83"/>
                    <a:pt x="244" y="83"/>
                    <a:pt x="244" y="83"/>
                  </a:cubicBezTo>
                  <a:cubicBezTo>
                    <a:pt x="263" y="94"/>
                    <a:pt x="263" y="94"/>
                    <a:pt x="263" y="94"/>
                  </a:cubicBezTo>
                  <a:cubicBezTo>
                    <a:pt x="284" y="72"/>
                    <a:pt x="284" y="72"/>
                    <a:pt x="284" y="72"/>
                  </a:cubicBezTo>
                  <a:cubicBezTo>
                    <a:pt x="311" y="72"/>
                    <a:pt x="311" y="72"/>
                    <a:pt x="311" y="72"/>
                  </a:cubicBezTo>
                  <a:cubicBezTo>
                    <a:pt x="320" y="53"/>
                    <a:pt x="320" y="53"/>
                    <a:pt x="320" y="53"/>
                  </a:cubicBezTo>
                  <a:cubicBezTo>
                    <a:pt x="342" y="53"/>
                    <a:pt x="342" y="53"/>
                    <a:pt x="342" y="53"/>
                  </a:cubicBezTo>
                  <a:cubicBezTo>
                    <a:pt x="342" y="39"/>
                    <a:pt x="342" y="39"/>
                    <a:pt x="342" y="39"/>
                  </a:cubicBezTo>
                  <a:cubicBezTo>
                    <a:pt x="293" y="26"/>
                    <a:pt x="293" y="26"/>
                    <a:pt x="293" y="26"/>
                  </a:cubicBezTo>
                  <a:cubicBezTo>
                    <a:pt x="244" y="26"/>
                    <a:pt x="244" y="26"/>
                    <a:pt x="244" y="26"/>
                  </a:cubicBezTo>
                  <a:cubicBezTo>
                    <a:pt x="201" y="32"/>
                    <a:pt x="201" y="32"/>
                    <a:pt x="201" y="32"/>
                  </a:cubicBezTo>
                  <a:cubicBezTo>
                    <a:pt x="232" y="20"/>
                    <a:pt x="265" y="15"/>
                    <a:pt x="299" y="15"/>
                  </a:cubicBezTo>
                  <a:cubicBezTo>
                    <a:pt x="337" y="15"/>
                    <a:pt x="374" y="22"/>
                    <a:pt x="409" y="37"/>
                  </a:cubicBezTo>
                  <a:cubicBezTo>
                    <a:pt x="434" y="47"/>
                    <a:pt x="457" y="61"/>
                    <a:pt x="477" y="78"/>
                  </a:cubicBezTo>
                  <a:cubicBezTo>
                    <a:pt x="400" y="72"/>
                    <a:pt x="400" y="72"/>
                    <a:pt x="400" y="72"/>
                  </a:cubicBezTo>
                  <a:cubicBezTo>
                    <a:pt x="390" y="82"/>
                    <a:pt x="390" y="82"/>
                    <a:pt x="390" y="82"/>
                  </a:cubicBezTo>
                  <a:cubicBezTo>
                    <a:pt x="374" y="82"/>
                    <a:pt x="374" y="82"/>
                    <a:pt x="374" y="82"/>
                  </a:cubicBezTo>
                  <a:cubicBezTo>
                    <a:pt x="364" y="92"/>
                    <a:pt x="364" y="92"/>
                    <a:pt x="364" y="92"/>
                  </a:cubicBezTo>
                  <a:cubicBezTo>
                    <a:pt x="396" y="103"/>
                    <a:pt x="396" y="103"/>
                    <a:pt x="396" y="103"/>
                  </a:cubicBezTo>
                  <a:cubicBezTo>
                    <a:pt x="416" y="92"/>
                    <a:pt x="416" y="92"/>
                    <a:pt x="416" y="92"/>
                  </a:cubicBezTo>
                  <a:cubicBezTo>
                    <a:pt x="420" y="113"/>
                    <a:pt x="420" y="113"/>
                    <a:pt x="420" y="113"/>
                  </a:cubicBezTo>
                  <a:cubicBezTo>
                    <a:pt x="373" y="113"/>
                    <a:pt x="373" y="113"/>
                    <a:pt x="373" y="113"/>
                  </a:cubicBezTo>
                  <a:cubicBezTo>
                    <a:pt x="363" y="124"/>
                    <a:pt x="363" y="124"/>
                    <a:pt x="363" y="124"/>
                  </a:cubicBezTo>
                  <a:cubicBezTo>
                    <a:pt x="344" y="124"/>
                    <a:pt x="344" y="124"/>
                    <a:pt x="344" y="124"/>
                  </a:cubicBezTo>
                  <a:cubicBezTo>
                    <a:pt x="335" y="133"/>
                    <a:pt x="335" y="133"/>
                    <a:pt x="335" y="133"/>
                  </a:cubicBezTo>
                  <a:cubicBezTo>
                    <a:pt x="359" y="145"/>
                    <a:pt x="359" y="145"/>
                    <a:pt x="359" y="145"/>
                  </a:cubicBezTo>
                  <a:cubicBezTo>
                    <a:pt x="353" y="158"/>
                    <a:pt x="353" y="158"/>
                    <a:pt x="353" y="158"/>
                  </a:cubicBezTo>
                  <a:cubicBezTo>
                    <a:pt x="329" y="158"/>
                    <a:pt x="329" y="158"/>
                    <a:pt x="329" y="158"/>
                  </a:cubicBezTo>
                  <a:cubicBezTo>
                    <a:pt x="329" y="183"/>
                    <a:pt x="329" y="183"/>
                    <a:pt x="329" y="183"/>
                  </a:cubicBezTo>
                  <a:cubicBezTo>
                    <a:pt x="347" y="183"/>
                    <a:pt x="347" y="183"/>
                    <a:pt x="347" y="183"/>
                  </a:cubicBezTo>
                  <a:cubicBezTo>
                    <a:pt x="362" y="168"/>
                    <a:pt x="362" y="168"/>
                    <a:pt x="362" y="168"/>
                  </a:cubicBezTo>
                  <a:cubicBezTo>
                    <a:pt x="403" y="173"/>
                    <a:pt x="403" y="173"/>
                    <a:pt x="403" y="173"/>
                  </a:cubicBezTo>
                  <a:cubicBezTo>
                    <a:pt x="457" y="189"/>
                    <a:pt x="457" y="189"/>
                    <a:pt x="457" y="189"/>
                  </a:cubicBezTo>
                  <a:cubicBezTo>
                    <a:pt x="482" y="190"/>
                    <a:pt x="482" y="190"/>
                    <a:pt x="482" y="190"/>
                  </a:cubicBezTo>
                  <a:cubicBezTo>
                    <a:pt x="482" y="221"/>
                    <a:pt x="482" y="221"/>
                    <a:pt x="482" y="221"/>
                  </a:cubicBezTo>
                  <a:cubicBezTo>
                    <a:pt x="481" y="228"/>
                    <a:pt x="481" y="228"/>
                    <a:pt x="481" y="228"/>
                  </a:cubicBezTo>
                  <a:cubicBezTo>
                    <a:pt x="469" y="209"/>
                    <a:pt x="469" y="209"/>
                    <a:pt x="469" y="209"/>
                  </a:cubicBezTo>
                  <a:cubicBezTo>
                    <a:pt x="408" y="209"/>
                    <a:pt x="408" y="209"/>
                    <a:pt x="408" y="209"/>
                  </a:cubicBezTo>
                  <a:cubicBezTo>
                    <a:pt x="382" y="183"/>
                    <a:pt x="382" y="183"/>
                    <a:pt x="382" y="183"/>
                  </a:cubicBezTo>
                  <a:cubicBezTo>
                    <a:pt x="330" y="198"/>
                    <a:pt x="330" y="198"/>
                    <a:pt x="330" y="198"/>
                  </a:cubicBezTo>
                  <a:cubicBezTo>
                    <a:pt x="315" y="228"/>
                    <a:pt x="315" y="228"/>
                    <a:pt x="315" y="228"/>
                  </a:cubicBezTo>
                  <a:cubicBezTo>
                    <a:pt x="290" y="236"/>
                    <a:pt x="290" y="236"/>
                    <a:pt x="290" y="236"/>
                  </a:cubicBezTo>
                  <a:cubicBezTo>
                    <a:pt x="284" y="298"/>
                    <a:pt x="284" y="298"/>
                    <a:pt x="284" y="298"/>
                  </a:cubicBezTo>
                  <a:cubicBezTo>
                    <a:pt x="320" y="335"/>
                    <a:pt x="320" y="335"/>
                    <a:pt x="320" y="335"/>
                  </a:cubicBezTo>
                  <a:cubicBezTo>
                    <a:pt x="353" y="335"/>
                    <a:pt x="353" y="335"/>
                    <a:pt x="353" y="335"/>
                  </a:cubicBezTo>
                  <a:cubicBezTo>
                    <a:pt x="387" y="319"/>
                    <a:pt x="387" y="319"/>
                    <a:pt x="387" y="319"/>
                  </a:cubicBezTo>
                  <a:cubicBezTo>
                    <a:pt x="408" y="401"/>
                    <a:pt x="408" y="401"/>
                    <a:pt x="408" y="401"/>
                  </a:cubicBezTo>
                  <a:cubicBezTo>
                    <a:pt x="408" y="510"/>
                    <a:pt x="408" y="510"/>
                    <a:pt x="408" y="510"/>
                  </a:cubicBezTo>
                  <a:cubicBezTo>
                    <a:pt x="445" y="519"/>
                    <a:pt x="445" y="519"/>
                    <a:pt x="445" y="519"/>
                  </a:cubicBezTo>
                  <a:cubicBezTo>
                    <a:pt x="505" y="430"/>
                    <a:pt x="505" y="430"/>
                    <a:pt x="505" y="430"/>
                  </a:cubicBezTo>
                  <a:cubicBezTo>
                    <a:pt x="505" y="361"/>
                    <a:pt x="505" y="361"/>
                    <a:pt x="505" y="361"/>
                  </a:cubicBezTo>
                  <a:cubicBezTo>
                    <a:pt x="549" y="317"/>
                    <a:pt x="549" y="317"/>
                    <a:pt x="549" y="317"/>
                  </a:cubicBezTo>
                  <a:cubicBezTo>
                    <a:pt x="537" y="304"/>
                    <a:pt x="537" y="304"/>
                    <a:pt x="537" y="304"/>
                  </a:cubicBezTo>
                  <a:cubicBezTo>
                    <a:pt x="555" y="286"/>
                    <a:pt x="555" y="286"/>
                    <a:pt x="555" y="286"/>
                  </a:cubicBezTo>
                  <a:cubicBezTo>
                    <a:pt x="582" y="279"/>
                    <a:pt x="582" y="279"/>
                    <a:pt x="582" y="279"/>
                  </a:cubicBezTo>
                  <a:cubicBezTo>
                    <a:pt x="582" y="286"/>
                    <a:pt x="582" y="292"/>
                    <a:pt x="582" y="298"/>
                  </a:cubicBezTo>
                  <a:cubicBezTo>
                    <a:pt x="582" y="331"/>
                    <a:pt x="577" y="363"/>
                    <a:pt x="566" y="393"/>
                  </a:cubicBezTo>
                  <a:close/>
                </a:path>
              </a:pathLst>
            </a:custGeom>
            <a:solidFill>
              <a:srgbClr val="41AAAA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endParaRPr lang="en-US"/>
            </a:p>
          </p:txBody>
        </p:sp>
        <p:cxnSp>
          <p:nvCxnSpPr>
            <p:cNvPr id="5" name="Gerade Verbindung 4"/>
            <p:cNvCxnSpPr/>
            <p:nvPr/>
          </p:nvCxnSpPr>
          <p:spPr bwMode="gray">
            <a:xfrm>
              <a:off x="8552013" y="1557338"/>
              <a:ext cx="0" cy="3906202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0" name="Gerade Verbindung 59"/>
            <p:cNvCxnSpPr/>
            <p:nvPr/>
          </p:nvCxnSpPr>
          <p:spPr bwMode="gray">
            <a:xfrm flipH="1">
              <a:off x="8836025" y="2723237"/>
              <a:ext cx="287972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69" name="Gerade Verbindung 68"/>
            <p:cNvCxnSpPr/>
            <p:nvPr/>
          </p:nvCxnSpPr>
          <p:spPr bwMode="gray">
            <a:xfrm flipH="1">
              <a:off x="8836025" y="4136251"/>
              <a:ext cx="287972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6" name="TextBox 6"/>
            <p:cNvSpPr txBox="1"/>
            <p:nvPr/>
          </p:nvSpPr>
          <p:spPr bwMode="gray">
            <a:xfrm>
              <a:off x="9785350" y="2953380"/>
              <a:ext cx="193039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Промышленность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77" name="Gerade Verbindung 76"/>
            <p:cNvCxnSpPr/>
            <p:nvPr/>
          </p:nvCxnSpPr>
          <p:spPr bwMode="gray">
            <a:xfrm flipH="1">
              <a:off x="8836025" y="3429744"/>
              <a:ext cx="287972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8" name="TextBox 6"/>
            <p:cNvSpPr txBox="1"/>
            <p:nvPr/>
          </p:nvSpPr>
          <p:spPr bwMode="gray">
            <a:xfrm>
              <a:off x="9785350" y="3659887"/>
              <a:ext cx="193039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Электростанции 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80" name="TextBox 6"/>
            <p:cNvSpPr txBox="1"/>
            <p:nvPr/>
          </p:nvSpPr>
          <p:spPr bwMode="gray">
            <a:xfrm>
              <a:off x="9785350" y="4366394"/>
              <a:ext cx="1930399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indent="-90488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Сжигание топлива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81" name="Gerade Verbindung 80"/>
            <p:cNvCxnSpPr/>
            <p:nvPr/>
          </p:nvCxnSpPr>
          <p:spPr bwMode="gray">
            <a:xfrm flipH="1">
              <a:off x="8836025" y="4842758"/>
              <a:ext cx="2879724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82" name="TextBox 6"/>
            <p:cNvSpPr txBox="1"/>
            <p:nvPr/>
          </p:nvSpPr>
          <p:spPr bwMode="gray">
            <a:xfrm>
              <a:off x="9785350" y="5072905"/>
              <a:ext cx="1930399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indent="-90488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Природные причины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</p:grpSp>
      <p:sp>
        <p:nvSpPr>
          <p:cNvPr id="40" name="TextBox 6"/>
          <p:cNvSpPr txBox="1"/>
          <p:nvPr/>
        </p:nvSpPr>
        <p:spPr bwMode="gray">
          <a:xfrm>
            <a:off x="627063" y="1559030"/>
            <a:ext cx="3290436" cy="10413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0488" lvl="1" indent="-90488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2400" dirty="0" smtClean="0">
                <a:solidFill>
                  <a:srgbClr val="00646E"/>
                </a:solidFill>
              </a:rPr>
              <a:t>Размер частиц</a:t>
            </a:r>
            <a:endParaRPr lang="en-US" sz="2400" dirty="0" smtClean="0">
              <a:solidFill>
                <a:srgbClr val="00646E"/>
              </a:solidFill>
            </a:endParaRPr>
          </a:p>
          <a:p>
            <a:pPr marL="193675" lvl="1" indent="-193675" eaLnBrk="0" hangingPunct="0">
              <a:spcBef>
                <a:spcPts val="66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PM2.5:	0.3 </a:t>
            </a:r>
            <a:r>
              <a:rPr lang="ru-RU" sz="1600" dirty="0" smtClean="0">
                <a:solidFill>
                  <a:schemeClr val="tx1"/>
                </a:solidFill>
              </a:rPr>
              <a:t>до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2.5 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en-US" sz="1600" dirty="0">
                <a:solidFill>
                  <a:schemeClr val="tx1"/>
                </a:solidFill>
              </a:rPr>
              <a:t>m </a:t>
            </a:r>
            <a:endParaRPr lang="ru-RU" sz="1600" dirty="0" smtClean="0">
              <a:solidFill>
                <a:schemeClr val="tx1"/>
              </a:solidFill>
            </a:endParaRPr>
          </a:p>
          <a:p>
            <a:pPr marL="193675" lvl="1" indent="-193675" eaLnBrk="0" hangingPunct="0">
              <a:spcBef>
                <a:spcPts val="66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sz="1600" dirty="0" smtClean="0">
                <a:solidFill>
                  <a:schemeClr val="tx1"/>
                </a:solidFill>
              </a:rPr>
              <a:t>PM10:	0.3 </a:t>
            </a:r>
            <a:r>
              <a:rPr lang="ru-RU" sz="1600" dirty="0" smtClean="0">
                <a:solidFill>
                  <a:schemeClr val="tx1"/>
                </a:solidFill>
              </a:rPr>
              <a:t>до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>
                <a:solidFill>
                  <a:schemeClr val="tx1"/>
                </a:solidFill>
              </a:rPr>
              <a:t>10 </a:t>
            </a:r>
            <a:r>
              <a:rPr lang="el-GR" sz="1600" dirty="0">
                <a:solidFill>
                  <a:schemeClr val="tx1"/>
                </a:solidFill>
              </a:rPr>
              <a:t>μ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41" name="Oval 89"/>
          <p:cNvSpPr>
            <a:spLocks noChangeArrowheads="1"/>
          </p:cNvSpPr>
          <p:nvPr/>
        </p:nvSpPr>
        <p:spPr bwMode="gray">
          <a:xfrm>
            <a:off x="3274120" y="3857518"/>
            <a:ext cx="288925" cy="288925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2" name="Oval 90"/>
          <p:cNvSpPr>
            <a:spLocks noChangeArrowheads="1"/>
          </p:cNvSpPr>
          <p:nvPr/>
        </p:nvSpPr>
        <p:spPr bwMode="gray">
          <a:xfrm>
            <a:off x="627063" y="4057492"/>
            <a:ext cx="105830" cy="105829"/>
          </a:xfrm>
          <a:prstGeom prst="ellipse">
            <a:avLst/>
          </a:prstGeom>
          <a:solidFill>
            <a:srgbClr val="AF235F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3" name="Oval 91"/>
          <p:cNvSpPr>
            <a:spLocks noChangeArrowheads="1"/>
          </p:cNvSpPr>
          <p:nvPr/>
        </p:nvSpPr>
        <p:spPr bwMode="gray">
          <a:xfrm>
            <a:off x="2045775" y="3967567"/>
            <a:ext cx="216976" cy="232474"/>
          </a:xfrm>
          <a:prstGeom prst="ellipse">
            <a:avLst/>
          </a:prstGeom>
          <a:solidFill>
            <a:schemeClr val="accent1"/>
          </a:solidFill>
          <a:ln w="14288" cap="flat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7" name="Group 98"/>
          <p:cNvGrpSpPr>
            <a:grpSpLocks noChangeAspect="1"/>
          </p:cNvGrpSpPr>
          <p:nvPr/>
        </p:nvGrpSpPr>
        <p:grpSpPr bwMode="gray">
          <a:xfrm>
            <a:off x="4460471" y="1506023"/>
            <a:ext cx="3844873" cy="2663725"/>
            <a:chOff x="2863" y="1363"/>
            <a:chExt cx="2347" cy="1626"/>
          </a:xfrm>
        </p:grpSpPr>
        <p:sp>
          <p:nvSpPr>
            <p:cNvPr id="45" name="AutoShape 97"/>
            <p:cNvSpPr>
              <a:spLocks noChangeAspect="1" noChangeArrowheads="1" noTextEdit="1"/>
            </p:cNvSpPr>
            <p:nvPr/>
          </p:nvSpPr>
          <p:spPr bwMode="gray">
            <a:xfrm>
              <a:off x="2863" y="1365"/>
              <a:ext cx="2317" cy="15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99"/>
            <p:cNvSpPr>
              <a:spLocks/>
            </p:cNvSpPr>
            <p:nvPr/>
          </p:nvSpPr>
          <p:spPr bwMode="gray">
            <a:xfrm>
              <a:off x="2865" y="1363"/>
              <a:ext cx="494" cy="657"/>
            </a:xfrm>
            <a:custGeom>
              <a:avLst/>
              <a:gdLst>
                <a:gd name="T0" fmla="*/ 159 w 286"/>
                <a:gd name="T1" fmla="*/ 299 h 380"/>
                <a:gd name="T2" fmla="*/ 177 w 286"/>
                <a:gd name="T3" fmla="*/ 380 h 380"/>
                <a:gd name="T4" fmla="*/ 0 w 286"/>
                <a:gd name="T5" fmla="*/ 41 h 380"/>
                <a:gd name="T6" fmla="*/ 32 w 286"/>
                <a:gd name="T7" fmla="*/ 0 h 380"/>
                <a:gd name="T8" fmla="*/ 94 w 286"/>
                <a:gd name="T9" fmla="*/ 21 h 380"/>
                <a:gd name="T10" fmla="*/ 286 w 286"/>
                <a:gd name="T11" fmla="*/ 228 h 380"/>
                <a:gd name="T12" fmla="*/ 235 w 286"/>
                <a:gd name="T13" fmla="*/ 229 h 380"/>
                <a:gd name="T14" fmla="*/ 234 w 286"/>
                <a:gd name="T15" fmla="*/ 303 h 380"/>
                <a:gd name="T16" fmla="*/ 159 w 286"/>
                <a:gd name="T17" fmla="*/ 299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6" h="380">
                  <a:moveTo>
                    <a:pt x="159" y="299"/>
                  </a:moveTo>
                  <a:cubicBezTo>
                    <a:pt x="177" y="380"/>
                    <a:pt x="177" y="380"/>
                    <a:pt x="177" y="380"/>
                  </a:cubicBezTo>
                  <a:cubicBezTo>
                    <a:pt x="18" y="192"/>
                    <a:pt x="0" y="41"/>
                    <a:pt x="0" y="41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94" y="21"/>
                    <a:pt x="94" y="21"/>
                    <a:pt x="94" y="21"/>
                  </a:cubicBezTo>
                  <a:cubicBezTo>
                    <a:pt x="145" y="101"/>
                    <a:pt x="211" y="169"/>
                    <a:pt x="286" y="228"/>
                  </a:cubicBezTo>
                  <a:cubicBezTo>
                    <a:pt x="235" y="229"/>
                    <a:pt x="235" y="229"/>
                    <a:pt x="235" y="229"/>
                  </a:cubicBezTo>
                  <a:cubicBezTo>
                    <a:pt x="234" y="303"/>
                    <a:pt x="234" y="303"/>
                    <a:pt x="234" y="303"/>
                  </a:cubicBezTo>
                  <a:lnTo>
                    <a:pt x="159" y="299"/>
                  </a:ln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100"/>
            <p:cNvSpPr>
              <a:spLocks/>
            </p:cNvSpPr>
            <p:nvPr/>
          </p:nvSpPr>
          <p:spPr bwMode="gray">
            <a:xfrm>
              <a:off x="3171" y="1779"/>
              <a:ext cx="552" cy="536"/>
            </a:xfrm>
            <a:custGeom>
              <a:avLst/>
              <a:gdLst>
                <a:gd name="T0" fmla="*/ 149 w 320"/>
                <a:gd name="T1" fmla="*/ 221 h 310"/>
                <a:gd name="T2" fmla="*/ 179 w 320"/>
                <a:gd name="T3" fmla="*/ 310 h 310"/>
                <a:gd name="T4" fmla="*/ 19 w 320"/>
                <a:gd name="T5" fmla="*/ 161 h 310"/>
                <a:gd name="T6" fmla="*/ 0 w 320"/>
                <a:gd name="T7" fmla="*/ 73 h 310"/>
                <a:gd name="T8" fmla="*/ 71 w 320"/>
                <a:gd name="T9" fmla="*/ 76 h 310"/>
                <a:gd name="T10" fmla="*/ 72 w 320"/>
                <a:gd name="T11" fmla="*/ 2 h 310"/>
                <a:gd name="T12" fmla="*/ 126 w 320"/>
                <a:gd name="T13" fmla="*/ 0 h 310"/>
                <a:gd name="T14" fmla="*/ 320 w 320"/>
                <a:gd name="T15" fmla="*/ 119 h 310"/>
                <a:gd name="T16" fmla="*/ 225 w 320"/>
                <a:gd name="T17" fmla="*/ 135 h 310"/>
                <a:gd name="T18" fmla="*/ 232 w 320"/>
                <a:gd name="T19" fmla="*/ 216 h 310"/>
                <a:gd name="T20" fmla="*/ 149 w 320"/>
                <a:gd name="T21" fmla="*/ 221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20" h="310">
                  <a:moveTo>
                    <a:pt x="149" y="221"/>
                  </a:moveTo>
                  <a:cubicBezTo>
                    <a:pt x="179" y="310"/>
                    <a:pt x="179" y="310"/>
                    <a:pt x="179" y="310"/>
                  </a:cubicBezTo>
                  <a:cubicBezTo>
                    <a:pt x="115" y="259"/>
                    <a:pt x="63" y="209"/>
                    <a:pt x="19" y="161"/>
                  </a:cubicBezTo>
                  <a:cubicBezTo>
                    <a:pt x="0" y="73"/>
                    <a:pt x="0" y="73"/>
                    <a:pt x="0" y="73"/>
                  </a:cubicBezTo>
                  <a:cubicBezTo>
                    <a:pt x="71" y="76"/>
                    <a:pt x="71" y="76"/>
                    <a:pt x="71" y="76"/>
                  </a:cubicBezTo>
                  <a:cubicBezTo>
                    <a:pt x="72" y="2"/>
                    <a:pt x="72" y="2"/>
                    <a:pt x="72" y="2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87" y="46"/>
                    <a:pt x="252" y="85"/>
                    <a:pt x="320" y="119"/>
                  </a:cubicBezTo>
                  <a:cubicBezTo>
                    <a:pt x="225" y="135"/>
                    <a:pt x="225" y="135"/>
                    <a:pt x="225" y="135"/>
                  </a:cubicBezTo>
                  <a:cubicBezTo>
                    <a:pt x="232" y="216"/>
                    <a:pt x="232" y="216"/>
                    <a:pt x="232" y="216"/>
                  </a:cubicBezTo>
                  <a:lnTo>
                    <a:pt x="149" y="221"/>
                  </a:ln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101"/>
            <p:cNvSpPr>
              <a:spLocks/>
            </p:cNvSpPr>
            <p:nvPr/>
          </p:nvSpPr>
          <p:spPr bwMode="gray">
            <a:xfrm>
              <a:off x="3464" y="2006"/>
              <a:ext cx="666" cy="558"/>
            </a:xfrm>
            <a:custGeom>
              <a:avLst/>
              <a:gdLst>
                <a:gd name="T0" fmla="*/ 180 w 385"/>
                <a:gd name="T1" fmla="*/ 246 h 323"/>
                <a:gd name="T2" fmla="*/ 224 w 385"/>
                <a:gd name="T3" fmla="*/ 323 h 323"/>
                <a:gd name="T4" fmla="*/ 31 w 385"/>
                <a:gd name="T5" fmla="*/ 196 h 323"/>
                <a:gd name="T6" fmla="*/ 31 w 385"/>
                <a:gd name="T7" fmla="*/ 196 h 323"/>
                <a:gd name="T8" fmla="*/ 0 w 385"/>
                <a:gd name="T9" fmla="*/ 104 h 323"/>
                <a:gd name="T10" fmla="*/ 79 w 385"/>
                <a:gd name="T11" fmla="*/ 100 h 323"/>
                <a:gd name="T12" fmla="*/ 72 w 385"/>
                <a:gd name="T13" fmla="*/ 17 h 323"/>
                <a:gd name="T14" fmla="*/ 173 w 385"/>
                <a:gd name="T15" fmla="*/ 0 h 323"/>
                <a:gd name="T16" fmla="*/ 173 w 385"/>
                <a:gd name="T17" fmla="*/ 0 h 323"/>
                <a:gd name="T18" fmla="*/ 385 w 385"/>
                <a:gd name="T19" fmla="*/ 88 h 323"/>
                <a:gd name="T20" fmla="*/ 243 w 385"/>
                <a:gd name="T21" fmla="*/ 136 h 323"/>
                <a:gd name="T22" fmla="*/ 268 w 385"/>
                <a:gd name="T23" fmla="*/ 222 h 323"/>
                <a:gd name="T24" fmla="*/ 180 w 385"/>
                <a:gd name="T25" fmla="*/ 246 h 3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5" h="323">
                  <a:moveTo>
                    <a:pt x="180" y="246"/>
                  </a:moveTo>
                  <a:cubicBezTo>
                    <a:pt x="224" y="323"/>
                    <a:pt x="224" y="323"/>
                    <a:pt x="224" y="323"/>
                  </a:cubicBezTo>
                  <a:cubicBezTo>
                    <a:pt x="150" y="281"/>
                    <a:pt x="86" y="239"/>
                    <a:pt x="31" y="196"/>
                  </a:cubicBezTo>
                  <a:cubicBezTo>
                    <a:pt x="31" y="196"/>
                    <a:pt x="31" y="196"/>
                    <a:pt x="31" y="196"/>
                  </a:cubicBezTo>
                  <a:cubicBezTo>
                    <a:pt x="0" y="104"/>
                    <a:pt x="0" y="104"/>
                    <a:pt x="0" y="104"/>
                  </a:cubicBezTo>
                  <a:cubicBezTo>
                    <a:pt x="79" y="100"/>
                    <a:pt x="79" y="100"/>
                    <a:pt x="79" y="100"/>
                  </a:cubicBezTo>
                  <a:cubicBezTo>
                    <a:pt x="72" y="17"/>
                    <a:pt x="72" y="17"/>
                    <a:pt x="72" y="17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173" y="0"/>
                    <a:pt x="173" y="0"/>
                    <a:pt x="173" y="0"/>
                  </a:cubicBezTo>
                  <a:cubicBezTo>
                    <a:pt x="244" y="35"/>
                    <a:pt x="316" y="64"/>
                    <a:pt x="385" y="88"/>
                  </a:cubicBezTo>
                  <a:cubicBezTo>
                    <a:pt x="243" y="136"/>
                    <a:pt x="243" y="136"/>
                    <a:pt x="243" y="136"/>
                  </a:cubicBezTo>
                  <a:cubicBezTo>
                    <a:pt x="268" y="222"/>
                    <a:pt x="268" y="222"/>
                    <a:pt x="268" y="222"/>
                  </a:cubicBezTo>
                  <a:lnTo>
                    <a:pt x="180" y="246"/>
                  </a:ln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102"/>
            <p:cNvSpPr>
              <a:spLocks/>
            </p:cNvSpPr>
            <p:nvPr/>
          </p:nvSpPr>
          <p:spPr bwMode="gray">
            <a:xfrm>
              <a:off x="3818" y="2173"/>
              <a:ext cx="629" cy="567"/>
            </a:xfrm>
            <a:custGeom>
              <a:avLst/>
              <a:gdLst>
                <a:gd name="T0" fmla="*/ 172 w 364"/>
                <a:gd name="T1" fmla="*/ 203 h 328"/>
                <a:gd name="T2" fmla="*/ 225 w 364"/>
                <a:gd name="T3" fmla="*/ 328 h 328"/>
                <a:gd name="T4" fmla="*/ 48 w 364"/>
                <a:gd name="T5" fmla="*/ 242 h 328"/>
                <a:gd name="T6" fmla="*/ 0 w 364"/>
                <a:gd name="T7" fmla="*/ 159 h 328"/>
                <a:gd name="T8" fmla="*/ 85 w 364"/>
                <a:gd name="T9" fmla="*/ 137 h 328"/>
                <a:gd name="T10" fmla="*/ 59 w 364"/>
                <a:gd name="T11" fmla="*/ 50 h 328"/>
                <a:gd name="T12" fmla="*/ 207 w 364"/>
                <a:gd name="T13" fmla="*/ 0 h 328"/>
                <a:gd name="T14" fmla="*/ 364 w 364"/>
                <a:gd name="T15" fmla="*/ 46 h 328"/>
                <a:gd name="T16" fmla="*/ 274 w 364"/>
                <a:gd name="T17" fmla="*/ 65 h 328"/>
                <a:gd name="T18" fmla="*/ 295 w 364"/>
                <a:gd name="T19" fmla="*/ 185 h 328"/>
                <a:gd name="T20" fmla="*/ 172 w 364"/>
                <a:gd name="T21" fmla="*/ 203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64" h="328">
                  <a:moveTo>
                    <a:pt x="172" y="203"/>
                  </a:moveTo>
                  <a:cubicBezTo>
                    <a:pt x="225" y="328"/>
                    <a:pt x="225" y="328"/>
                    <a:pt x="225" y="328"/>
                  </a:cubicBezTo>
                  <a:cubicBezTo>
                    <a:pt x="161" y="300"/>
                    <a:pt x="102" y="271"/>
                    <a:pt x="48" y="242"/>
                  </a:cubicBezTo>
                  <a:cubicBezTo>
                    <a:pt x="0" y="159"/>
                    <a:pt x="0" y="159"/>
                    <a:pt x="0" y="159"/>
                  </a:cubicBezTo>
                  <a:cubicBezTo>
                    <a:pt x="85" y="137"/>
                    <a:pt x="85" y="137"/>
                    <a:pt x="85" y="137"/>
                  </a:cubicBezTo>
                  <a:cubicBezTo>
                    <a:pt x="59" y="50"/>
                    <a:pt x="59" y="50"/>
                    <a:pt x="59" y="50"/>
                  </a:cubicBezTo>
                  <a:cubicBezTo>
                    <a:pt x="207" y="0"/>
                    <a:pt x="207" y="0"/>
                    <a:pt x="207" y="0"/>
                  </a:cubicBezTo>
                  <a:cubicBezTo>
                    <a:pt x="262" y="18"/>
                    <a:pt x="314" y="33"/>
                    <a:pt x="364" y="46"/>
                  </a:cubicBezTo>
                  <a:cubicBezTo>
                    <a:pt x="274" y="65"/>
                    <a:pt x="274" y="65"/>
                    <a:pt x="274" y="65"/>
                  </a:cubicBezTo>
                  <a:cubicBezTo>
                    <a:pt x="295" y="185"/>
                    <a:pt x="295" y="185"/>
                    <a:pt x="295" y="185"/>
                  </a:cubicBezTo>
                  <a:lnTo>
                    <a:pt x="172" y="203"/>
                  </a:ln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103"/>
            <p:cNvSpPr>
              <a:spLocks/>
            </p:cNvSpPr>
            <p:nvPr/>
          </p:nvSpPr>
          <p:spPr bwMode="gray">
            <a:xfrm>
              <a:off x="4173" y="2275"/>
              <a:ext cx="776" cy="682"/>
            </a:xfrm>
            <a:custGeom>
              <a:avLst/>
              <a:gdLst>
                <a:gd name="T0" fmla="*/ 449 w 449"/>
                <a:gd name="T1" fmla="*/ 44 h 395"/>
                <a:gd name="T2" fmla="*/ 374 w 449"/>
                <a:gd name="T3" fmla="*/ 395 h 395"/>
                <a:gd name="T4" fmla="*/ 51 w 449"/>
                <a:gd name="T5" fmla="*/ 282 h 395"/>
                <a:gd name="T6" fmla="*/ 0 w 449"/>
                <a:gd name="T7" fmla="*/ 162 h 395"/>
                <a:gd name="T8" fmla="*/ 117 w 449"/>
                <a:gd name="T9" fmla="*/ 146 h 395"/>
                <a:gd name="T10" fmla="*/ 96 w 449"/>
                <a:gd name="T11" fmla="*/ 24 h 395"/>
                <a:gd name="T12" fmla="*/ 209 w 449"/>
                <a:gd name="T13" fmla="*/ 0 h 395"/>
                <a:gd name="T14" fmla="*/ 209 w 449"/>
                <a:gd name="T15" fmla="*/ 0 h 395"/>
                <a:gd name="T16" fmla="*/ 449 w 449"/>
                <a:gd name="T17" fmla="*/ 44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9" h="395">
                  <a:moveTo>
                    <a:pt x="449" y="44"/>
                  </a:moveTo>
                  <a:cubicBezTo>
                    <a:pt x="374" y="395"/>
                    <a:pt x="374" y="395"/>
                    <a:pt x="374" y="395"/>
                  </a:cubicBezTo>
                  <a:cubicBezTo>
                    <a:pt x="254" y="360"/>
                    <a:pt x="147" y="322"/>
                    <a:pt x="51" y="282"/>
                  </a:cubicBezTo>
                  <a:cubicBezTo>
                    <a:pt x="0" y="162"/>
                    <a:pt x="0" y="162"/>
                    <a:pt x="0" y="162"/>
                  </a:cubicBezTo>
                  <a:cubicBezTo>
                    <a:pt x="117" y="146"/>
                    <a:pt x="117" y="146"/>
                    <a:pt x="117" y="146"/>
                  </a:cubicBezTo>
                  <a:cubicBezTo>
                    <a:pt x="96" y="24"/>
                    <a:pt x="96" y="24"/>
                    <a:pt x="96" y="24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209" y="0"/>
                    <a:pt x="209" y="0"/>
                    <a:pt x="209" y="0"/>
                  </a:cubicBezTo>
                  <a:cubicBezTo>
                    <a:pt x="351" y="33"/>
                    <a:pt x="449" y="44"/>
                    <a:pt x="449" y="44"/>
                  </a:cubicBezTo>
                  <a:close/>
                </a:path>
              </a:pathLst>
            </a:custGeom>
            <a:solidFill>
              <a:srgbClr val="DFE6E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104"/>
            <p:cNvSpPr>
              <a:spLocks/>
            </p:cNvSpPr>
            <p:nvPr/>
          </p:nvSpPr>
          <p:spPr bwMode="gray">
            <a:xfrm>
              <a:off x="4532" y="2311"/>
              <a:ext cx="678" cy="678"/>
            </a:xfrm>
            <a:custGeom>
              <a:avLst/>
              <a:gdLst>
                <a:gd name="T0" fmla="*/ 370 w 391"/>
                <a:gd name="T1" fmla="*/ 233 h 391"/>
                <a:gd name="T2" fmla="*/ 158 w 391"/>
                <a:gd name="T3" fmla="*/ 370 h 391"/>
                <a:gd name="T4" fmla="*/ 21 w 391"/>
                <a:gd name="T5" fmla="*/ 158 h 391"/>
                <a:gd name="T6" fmla="*/ 233 w 391"/>
                <a:gd name="T7" fmla="*/ 21 h 391"/>
                <a:gd name="T8" fmla="*/ 370 w 391"/>
                <a:gd name="T9" fmla="*/ 233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1" h="391">
                  <a:moveTo>
                    <a:pt x="370" y="233"/>
                  </a:moveTo>
                  <a:cubicBezTo>
                    <a:pt x="350" y="330"/>
                    <a:pt x="255" y="391"/>
                    <a:pt x="158" y="370"/>
                  </a:cubicBezTo>
                  <a:cubicBezTo>
                    <a:pt x="61" y="350"/>
                    <a:pt x="0" y="255"/>
                    <a:pt x="21" y="158"/>
                  </a:cubicBezTo>
                  <a:cubicBezTo>
                    <a:pt x="41" y="61"/>
                    <a:pt x="136" y="0"/>
                    <a:pt x="233" y="21"/>
                  </a:cubicBezTo>
                  <a:cubicBezTo>
                    <a:pt x="330" y="41"/>
                    <a:pt x="391" y="136"/>
                    <a:pt x="370" y="233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Gruppieren 51"/>
          <p:cNvGrpSpPr>
            <a:grpSpLocks/>
          </p:cNvGrpSpPr>
          <p:nvPr/>
        </p:nvGrpSpPr>
        <p:grpSpPr bwMode="gray">
          <a:xfrm>
            <a:off x="4484061" y="3485088"/>
            <a:ext cx="742311" cy="740225"/>
            <a:chOff x="2968625" y="2868613"/>
            <a:chExt cx="1130300" cy="1127124"/>
          </a:xfrm>
          <a:solidFill>
            <a:srgbClr val="788791"/>
          </a:solidFill>
        </p:grpSpPr>
        <p:sp>
          <p:nvSpPr>
            <p:cNvPr id="53" name="Freeform 87"/>
            <p:cNvSpPr>
              <a:spLocks/>
            </p:cNvSpPr>
            <p:nvPr/>
          </p:nvSpPr>
          <p:spPr bwMode="gray">
            <a:xfrm>
              <a:off x="2968625" y="2868613"/>
              <a:ext cx="1130300" cy="1127124"/>
            </a:xfrm>
            <a:custGeom>
              <a:avLst/>
              <a:gdLst>
                <a:gd name="T0" fmla="*/ 162 w 301"/>
                <a:gd name="T1" fmla="*/ 35 h 301"/>
                <a:gd name="T2" fmla="*/ 188 w 301"/>
                <a:gd name="T3" fmla="*/ 13 h 301"/>
                <a:gd name="T4" fmla="*/ 197 w 301"/>
                <a:gd name="T5" fmla="*/ 44 h 301"/>
                <a:gd name="T6" fmla="*/ 228 w 301"/>
                <a:gd name="T7" fmla="*/ 31 h 301"/>
                <a:gd name="T8" fmla="*/ 227 w 301"/>
                <a:gd name="T9" fmla="*/ 64 h 301"/>
                <a:gd name="T10" fmla="*/ 261 w 301"/>
                <a:gd name="T11" fmla="*/ 61 h 301"/>
                <a:gd name="T12" fmla="*/ 250 w 301"/>
                <a:gd name="T13" fmla="*/ 92 h 301"/>
                <a:gd name="T14" fmla="*/ 284 w 301"/>
                <a:gd name="T15" fmla="*/ 100 h 301"/>
                <a:gd name="T16" fmla="*/ 264 w 301"/>
                <a:gd name="T17" fmla="*/ 126 h 301"/>
                <a:gd name="T18" fmla="*/ 293 w 301"/>
                <a:gd name="T19" fmla="*/ 144 h 301"/>
                <a:gd name="T20" fmla="*/ 266 w 301"/>
                <a:gd name="T21" fmla="*/ 162 h 301"/>
                <a:gd name="T22" fmla="*/ 288 w 301"/>
                <a:gd name="T23" fmla="*/ 188 h 301"/>
                <a:gd name="T24" fmla="*/ 257 w 301"/>
                <a:gd name="T25" fmla="*/ 197 h 301"/>
                <a:gd name="T26" fmla="*/ 270 w 301"/>
                <a:gd name="T27" fmla="*/ 229 h 301"/>
                <a:gd name="T28" fmla="*/ 237 w 301"/>
                <a:gd name="T29" fmla="*/ 228 h 301"/>
                <a:gd name="T30" fmla="*/ 240 w 301"/>
                <a:gd name="T31" fmla="*/ 262 h 301"/>
                <a:gd name="T32" fmla="*/ 209 w 301"/>
                <a:gd name="T33" fmla="*/ 251 h 301"/>
                <a:gd name="T34" fmla="*/ 201 w 301"/>
                <a:gd name="T35" fmla="*/ 284 h 301"/>
                <a:gd name="T36" fmla="*/ 175 w 301"/>
                <a:gd name="T37" fmla="*/ 264 h 301"/>
                <a:gd name="T38" fmla="*/ 157 w 301"/>
                <a:gd name="T39" fmla="*/ 293 h 301"/>
                <a:gd name="T40" fmla="*/ 139 w 301"/>
                <a:gd name="T41" fmla="*/ 266 h 301"/>
                <a:gd name="T42" fmla="*/ 113 w 301"/>
                <a:gd name="T43" fmla="*/ 288 h 301"/>
                <a:gd name="T44" fmla="*/ 104 w 301"/>
                <a:gd name="T45" fmla="*/ 257 h 301"/>
                <a:gd name="T46" fmla="*/ 72 w 301"/>
                <a:gd name="T47" fmla="*/ 270 h 301"/>
                <a:gd name="T48" fmla="*/ 73 w 301"/>
                <a:gd name="T49" fmla="*/ 237 h 301"/>
                <a:gd name="T50" fmla="*/ 39 w 301"/>
                <a:gd name="T51" fmla="*/ 240 h 301"/>
                <a:gd name="T52" fmla="*/ 50 w 301"/>
                <a:gd name="T53" fmla="*/ 209 h 301"/>
                <a:gd name="T54" fmla="*/ 17 w 301"/>
                <a:gd name="T55" fmla="*/ 201 h 301"/>
                <a:gd name="T56" fmla="*/ 37 w 301"/>
                <a:gd name="T57" fmla="*/ 176 h 301"/>
                <a:gd name="T58" fmla="*/ 8 w 301"/>
                <a:gd name="T59" fmla="*/ 158 h 301"/>
                <a:gd name="T60" fmla="*/ 35 w 301"/>
                <a:gd name="T61" fmla="*/ 139 h 301"/>
                <a:gd name="T62" fmla="*/ 13 w 301"/>
                <a:gd name="T63" fmla="*/ 113 h 301"/>
                <a:gd name="T64" fmla="*/ 44 w 301"/>
                <a:gd name="T65" fmla="*/ 104 h 301"/>
                <a:gd name="T66" fmla="*/ 31 w 301"/>
                <a:gd name="T67" fmla="*/ 73 h 301"/>
                <a:gd name="T68" fmla="*/ 63 w 301"/>
                <a:gd name="T69" fmla="*/ 74 h 301"/>
                <a:gd name="T70" fmla="*/ 61 w 301"/>
                <a:gd name="T71" fmla="*/ 40 h 301"/>
                <a:gd name="T72" fmla="*/ 92 w 301"/>
                <a:gd name="T73" fmla="*/ 51 h 301"/>
                <a:gd name="T74" fmla="*/ 99 w 301"/>
                <a:gd name="T75" fmla="*/ 17 h 301"/>
                <a:gd name="T76" fmla="*/ 125 w 301"/>
                <a:gd name="T77" fmla="*/ 37 h 301"/>
                <a:gd name="T78" fmla="*/ 143 w 301"/>
                <a:gd name="T79" fmla="*/ 8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01" h="301">
                  <a:moveTo>
                    <a:pt x="157" y="8"/>
                  </a:moveTo>
                  <a:cubicBezTo>
                    <a:pt x="162" y="35"/>
                    <a:pt x="162" y="35"/>
                    <a:pt x="162" y="35"/>
                  </a:cubicBezTo>
                  <a:cubicBezTo>
                    <a:pt x="163" y="42"/>
                    <a:pt x="172" y="44"/>
                    <a:pt x="175" y="37"/>
                  </a:cubicBezTo>
                  <a:cubicBezTo>
                    <a:pt x="188" y="13"/>
                    <a:pt x="188" y="13"/>
                    <a:pt x="188" y="13"/>
                  </a:cubicBezTo>
                  <a:cubicBezTo>
                    <a:pt x="191" y="6"/>
                    <a:pt x="202" y="9"/>
                    <a:pt x="201" y="17"/>
                  </a:cubicBezTo>
                  <a:cubicBezTo>
                    <a:pt x="197" y="44"/>
                    <a:pt x="197" y="44"/>
                    <a:pt x="197" y="44"/>
                  </a:cubicBezTo>
                  <a:cubicBezTo>
                    <a:pt x="196" y="51"/>
                    <a:pt x="204" y="56"/>
                    <a:pt x="209" y="51"/>
                  </a:cubicBezTo>
                  <a:cubicBezTo>
                    <a:pt x="228" y="31"/>
                    <a:pt x="228" y="31"/>
                    <a:pt x="228" y="31"/>
                  </a:cubicBezTo>
                  <a:cubicBezTo>
                    <a:pt x="234" y="25"/>
                    <a:pt x="244" y="32"/>
                    <a:pt x="240" y="40"/>
                  </a:cubicBezTo>
                  <a:cubicBezTo>
                    <a:pt x="227" y="64"/>
                    <a:pt x="227" y="64"/>
                    <a:pt x="227" y="64"/>
                  </a:cubicBezTo>
                  <a:cubicBezTo>
                    <a:pt x="224" y="70"/>
                    <a:pt x="231" y="77"/>
                    <a:pt x="237" y="74"/>
                  </a:cubicBezTo>
                  <a:cubicBezTo>
                    <a:pt x="261" y="61"/>
                    <a:pt x="261" y="61"/>
                    <a:pt x="261" y="61"/>
                  </a:cubicBezTo>
                  <a:cubicBezTo>
                    <a:pt x="269" y="57"/>
                    <a:pt x="276" y="67"/>
                    <a:pt x="270" y="73"/>
                  </a:cubicBezTo>
                  <a:cubicBezTo>
                    <a:pt x="250" y="92"/>
                    <a:pt x="250" y="92"/>
                    <a:pt x="250" y="92"/>
                  </a:cubicBezTo>
                  <a:cubicBezTo>
                    <a:pt x="245" y="97"/>
                    <a:pt x="250" y="105"/>
                    <a:pt x="257" y="104"/>
                  </a:cubicBezTo>
                  <a:cubicBezTo>
                    <a:pt x="284" y="100"/>
                    <a:pt x="284" y="100"/>
                    <a:pt x="284" y="100"/>
                  </a:cubicBezTo>
                  <a:cubicBezTo>
                    <a:pt x="292" y="98"/>
                    <a:pt x="295" y="110"/>
                    <a:pt x="288" y="113"/>
                  </a:cubicBezTo>
                  <a:cubicBezTo>
                    <a:pt x="264" y="126"/>
                    <a:pt x="264" y="126"/>
                    <a:pt x="264" y="126"/>
                  </a:cubicBezTo>
                  <a:cubicBezTo>
                    <a:pt x="257" y="129"/>
                    <a:pt x="259" y="138"/>
                    <a:pt x="266" y="139"/>
                  </a:cubicBezTo>
                  <a:cubicBezTo>
                    <a:pt x="293" y="144"/>
                    <a:pt x="293" y="144"/>
                    <a:pt x="293" y="144"/>
                  </a:cubicBezTo>
                  <a:cubicBezTo>
                    <a:pt x="301" y="145"/>
                    <a:pt x="301" y="157"/>
                    <a:pt x="293" y="158"/>
                  </a:cubicBezTo>
                  <a:cubicBezTo>
                    <a:pt x="266" y="162"/>
                    <a:pt x="266" y="162"/>
                    <a:pt x="266" y="162"/>
                  </a:cubicBezTo>
                  <a:cubicBezTo>
                    <a:pt x="259" y="163"/>
                    <a:pt x="257" y="172"/>
                    <a:pt x="264" y="176"/>
                  </a:cubicBezTo>
                  <a:cubicBezTo>
                    <a:pt x="288" y="188"/>
                    <a:pt x="288" y="188"/>
                    <a:pt x="288" y="188"/>
                  </a:cubicBezTo>
                  <a:cubicBezTo>
                    <a:pt x="295" y="192"/>
                    <a:pt x="292" y="203"/>
                    <a:pt x="284" y="201"/>
                  </a:cubicBezTo>
                  <a:cubicBezTo>
                    <a:pt x="257" y="197"/>
                    <a:pt x="257" y="197"/>
                    <a:pt x="257" y="197"/>
                  </a:cubicBezTo>
                  <a:cubicBezTo>
                    <a:pt x="250" y="196"/>
                    <a:pt x="245" y="204"/>
                    <a:pt x="250" y="209"/>
                  </a:cubicBezTo>
                  <a:cubicBezTo>
                    <a:pt x="270" y="229"/>
                    <a:pt x="270" y="229"/>
                    <a:pt x="270" y="229"/>
                  </a:cubicBezTo>
                  <a:cubicBezTo>
                    <a:pt x="276" y="234"/>
                    <a:pt x="269" y="244"/>
                    <a:pt x="261" y="240"/>
                  </a:cubicBezTo>
                  <a:cubicBezTo>
                    <a:pt x="237" y="228"/>
                    <a:pt x="237" y="228"/>
                    <a:pt x="237" y="228"/>
                  </a:cubicBezTo>
                  <a:cubicBezTo>
                    <a:pt x="231" y="225"/>
                    <a:pt x="224" y="231"/>
                    <a:pt x="227" y="237"/>
                  </a:cubicBezTo>
                  <a:cubicBezTo>
                    <a:pt x="240" y="262"/>
                    <a:pt x="240" y="262"/>
                    <a:pt x="240" y="262"/>
                  </a:cubicBezTo>
                  <a:cubicBezTo>
                    <a:pt x="244" y="269"/>
                    <a:pt x="234" y="276"/>
                    <a:pt x="228" y="270"/>
                  </a:cubicBezTo>
                  <a:cubicBezTo>
                    <a:pt x="209" y="251"/>
                    <a:pt x="209" y="251"/>
                    <a:pt x="209" y="251"/>
                  </a:cubicBezTo>
                  <a:cubicBezTo>
                    <a:pt x="204" y="246"/>
                    <a:pt x="196" y="250"/>
                    <a:pt x="197" y="257"/>
                  </a:cubicBezTo>
                  <a:cubicBezTo>
                    <a:pt x="201" y="284"/>
                    <a:pt x="201" y="284"/>
                    <a:pt x="201" y="284"/>
                  </a:cubicBezTo>
                  <a:cubicBezTo>
                    <a:pt x="202" y="292"/>
                    <a:pt x="191" y="296"/>
                    <a:pt x="188" y="288"/>
                  </a:cubicBezTo>
                  <a:cubicBezTo>
                    <a:pt x="175" y="264"/>
                    <a:pt x="175" y="264"/>
                    <a:pt x="175" y="264"/>
                  </a:cubicBezTo>
                  <a:cubicBezTo>
                    <a:pt x="172" y="258"/>
                    <a:pt x="163" y="259"/>
                    <a:pt x="162" y="266"/>
                  </a:cubicBezTo>
                  <a:cubicBezTo>
                    <a:pt x="157" y="293"/>
                    <a:pt x="157" y="293"/>
                    <a:pt x="157" y="293"/>
                  </a:cubicBezTo>
                  <a:cubicBezTo>
                    <a:pt x="156" y="301"/>
                    <a:pt x="144" y="301"/>
                    <a:pt x="143" y="293"/>
                  </a:cubicBezTo>
                  <a:cubicBezTo>
                    <a:pt x="139" y="266"/>
                    <a:pt x="139" y="266"/>
                    <a:pt x="139" y="266"/>
                  </a:cubicBezTo>
                  <a:cubicBezTo>
                    <a:pt x="138" y="259"/>
                    <a:pt x="129" y="258"/>
                    <a:pt x="125" y="264"/>
                  </a:cubicBezTo>
                  <a:cubicBezTo>
                    <a:pt x="113" y="288"/>
                    <a:pt x="113" y="288"/>
                    <a:pt x="113" y="288"/>
                  </a:cubicBezTo>
                  <a:cubicBezTo>
                    <a:pt x="109" y="296"/>
                    <a:pt x="98" y="292"/>
                    <a:pt x="99" y="284"/>
                  </a:cubicBezTo>
                  <a:cubicBezTo>
                    <a:pt x="104" y="257"/>
                    <a:pt x="104" y="257"/>
                    <a:pt x="104" y="257"/>
                  </a:cubicBezTo>
                  <a:cubicBezTo>
                    <a:pt x="105" y="250"/>
                    <a:pt x="97" y="246"/>
                    <a:pt x="92" y="251"/>
                  </a:cubicBezTo>
                  <a:cubicBezTo>
                    <a:pt x="72" y="270"/>
                    <a:pt x="72" y="270"/>
                    <a:pt x="72" y="270"/>
                  </a:cubicBezTo>
                  <a:cubicBezTo>
                    <a:pt x="67" y="276"/>
                    <a:pt x="57" y="269"/>
                    <a:pt x="61" y="262"/>
                  </a:cubicBezTo>
                  <a:cubicBezTo>
                    <a:pt x="73" y="237"/>
                    <a:pt x="73" y="237"/>
                    <a:pt x="73" y="237"/>
                  </a:cubicBezTo>
                  <a:cubicBezTo>
                    <a:pt x="76" y="231"/>
                    <a:pt x="70" y="225"/>
                    <a:pt x="63" y="228"/>
                  </a:cubicBezTo>
                  <a:cubicBezTo>
                    <a:pt x="39" y="240"/>
                    <a:pt x="39" y="240"/>
                    <a:pt x="39" y="240"/>
                  </a:cubicBezTo>
                  <a:cubicBezTo>
                    <a:pt x="32" y="244"/>
                    <a:pt x="25" y="234"/>
                    <a:pt x="31" y="229"/>
                  </a:cubicBezTo>
                  <a:cubicBezTo>
                    <a:pt x="50" y="209"/>
                    <a:pt x="50" y="209"/>
                    <a:pt x="50" y="209"/>
                  </a:cubicBezTo>
                  <a:cubicBezTo>
                    <a:pt x="55" y="204"/>
                    <a:pt x="51" y="196"/>
                    <a:pt x="44" y="197"/>
                  </a:cubicBezTo>
                  <a:cubicBezTo>
                    <a:pt x="17" y="201"/>
                    <a:pt x="17" y="201"/>
                    <a:pt x="17" y="201"/>
                  </a:cubicBezTo>
                  <a:cubicBezTo>
                    <a:pt x="9" y="203"/>
                    <a:pt x="5" y="192"/>
                    <a:pt x="13" y="188"/>
                  </a:cubicBezTo>
                  <a:cubicBezTo>
                    <a:pt x="37" y="176"/>
                    <a:pt x="37" y="176"/>
                    <a:pt x="37" y="176"/>
                  </a:cubicBezTo>
                  <a:cubicBezTo>
                    <a:pt x="43" y="172"/>
                    <a:pt x="42" y="163"/>
                    <a:pt x="35" y="162"/>
                  </a:cubicBezTo>
                  <a:cubicBezTo>
                    <a:pt x="8" y="158"/>
                    <a:pt x="8" y="158"/>
                    <a:pt x="8" y="158"/>
                  </a:cubicBezTo>
                  <a:cubicBezTo>
                    <a:pt x="0" y="157"/>
                    <a:pt x="0" y="145"/>
                    <a:pt x="8" y="144"/>
                  </a:cubicBezTo>
                  <a:cubicBezTo>
                    <a:pt x="35" y="139"/>
                    <a:pt x="35" y="139"/>
                    <a:pt x="35" y="139"/>
                  </a:cubicBezTo>
                  <a:cubicBezTo>
                    <a:pt x="42" y="138"/>
                    <a:pt x="43" y="129"/>
                    <a:pt x="37" y="126"/>
                  </a:cubicBezTo>
                  <a:cubicBezTo>
                    <a:pt x="13" y="113"/>
                    <a:pt x="13" y="113"/>
                    <a:pt x="13" y="113"/>
                  </a:cubicBezTo>
                  <a:cubicBezTo>
                    <a:pt x="5" y="110"/>
                    <a:pt x="9" y="98"/>
                    <a:pt x="17" y="100"/>
                  </a:cubicBezTo>
                  <a:cubicBezTo>
                    <a:pt x="44" y="104"/>
                    <a:pt x="44" y="104"/>
                    <a:pt x="44" y="104"/>
                  </a:cubicBezTo>
                  <a:cubicBezTo>
                    <a:pt x="51" y="105"/>
                    <a:pt x="55" y="97"/>
                    <a:pt x="50" y="92"/>
                  </a:cubicBezTo>
                  <a:cubicBezTo>
                    <a:pt x="31" y="73"/>
                    <a:pt x="31" y="73"/>
                    <a:pt x="31" y="73"/>
                  </a:cubicBezTo>
                  <a:cubicBezTo>
                    <a:pt x="25" y="67"/>
                    <a:pt x="32" y="57"/>
                    <a:pt x="39" y="61"/>
                  </a:cubicBezTo>
                  <a:cubicBezTo>
                    <a:pt x="63" y="74"/>
                    <a:pt x="63" y="74"/>
                    <a:pt x="63" y="74"/>
                  </a:cubicBezTo>
                  <a:cubicBezTo>
                    <a:pt x="70" y="77"/>
                    <a:pt x="76" y="70"/>
                    <a:pt x="73" y="64"/>
                  </a:cubicBezTo>
                  <a:cubicBezTo>
                    <a:pt x="61" y="40"/>
                    <a:pt x="61" y="40"/>
                    <a:pt x="61" y="40"/>
                  </a:cubicBezTo>
                  <a:cubicBezTo>
                    <a:pt x="57" y="32"/>
                    <a:pt x="67" y="25"/>
                    <a:pt x="72" y="31"/>
                  </a:cubicBezTo>
                  <a:cubicBezTo>
                    <a:pt x="92" y="51"/>
                    <a:pt x="92" y="51"/>
                    <a:pt x="92" y="51"/>
                  </a:cubicBezTo>
                  <a:cubicBezTo>
                    <a:pt x="97" y="56"/>
                    <a:pt x="105" y="51"/>
                    <a:pt x="104" y="44"/>
                  </a:cubicBezTo>
                  <a:cubicBezTo>
                    <a:pt x="99" y="17"/>
                    <a:pt x="99" y="17"/>
                    <a:pt x="99" y="17"/>
                  </a:cubicBezTo>
                  <a:cubicBezTo>
                    <a:pt x="98" y="9"/>
                    <a:pt x="109" y="6"/>
                    <a:pt x="113" y="13"/>
                  </a:cubicBezTo>
                  <a:cubicBezTo>
                    <a:pt x="125" y="37"/>
                    <a:pt x="125" y="37"/>
                    <a:pt x="125" y="37"/>
                  </a:cubicBezTo>
                  <a:cubicBezTo>
                    <a:pt x="129" y="44"/>
                    <a:pt x="138" y="42"/>
                    <a:pt x="139" y="35"/>
                  </a:cubicBezTo>
                  <a:cubicBezTo>
                    <a:pt x="143" y="8"/>
                    <a:pt x="143" y="8"/>
                    <a:pt x="143" y="8"/>
                  </a:cubicBezTo>
                  <a:cubicBezTo>
                    <a:pt x="144" y="0"/>
                    <a:pt x="156" y="0"/>
                    <a:pt x="157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88"/>
            <p:cNvSpPr>
              <a:spLocks/>
            </p:cNvSpPr>
            <p:nvPr/>
          </p:nvSpPr>
          <p:spPr bwMode="gray">
            <a:xfrm>
              <a:off x="3179763" y="3081338"/>
              <a:ext cx="704850" cy="704850"/>
            </a:xfrm>
            <a:custGeom>
              <a:avLst/>
              <a:gdLst>
                <a:gd name="T0" fmla="*/ 101 w 188"/>
                <a:gd name="T1" fmla="*/ 22 h 188"/>
                <a:gd name="T2" fmla="*/ 118 w 188"/>
                <a:gd name="T3" fmla="*/ 8 h 188"/>
                <a:gd name="T4" fmla="*/ 123 w 188"/>
                <a:gd name="T5" fmla="*/ 27 h 188"/>
                <a:gd name="T6" fmla="*/ 143 w 188"/>
                <a:gd name="T7" fmla="*/ 19 h 188"/>
                <a:gd name="T8" fmla="*/ 142 w 188"/>
                <a:gd name="T9" fmla="*/ 39 h 188"/>
                <a:gd name="T10" fmla="*/ 164 w 188"/>
                <a:gd name="T11" fmla="*/ 38 h 188"/>
                <a:gd name="T12" fmla="*/ 157 w 188"/>
                <a:gd name="T13" fmla="*/ 57 h 188"/>
                <a:gd name="T14" fmla="*/ 177 w 188"/>
                <a:gd name="T15" fmla="*/ 62 h 188"/>
                <a:gd name="T16" fmla="*/ 165 w 188"/>
                <a:gd name="T17" fmla="*/ 78 h 188"/>
                <a:gd name="T18" fmla="*/ 183 w 188"/>
                <a:gd name="T19" fmla="*/ 89 h 188"/>
                <a:gd name="T20" fmla="*/ 166 w 188"/>
                <a:gd name="T21" fmla="*/ 101 h 188"/>
                <a:gd name="T22" fmla="*/ 180 w 188"/>
                <a:gd name="T23" fmla="*/ 117 h 188"/>
                <a:gd name="T24" fmla="*/ 161 w 188"/>
                <a:gd name="T25" fmla="*/ 123 h 188"/>
                <a:gd name="T26" fmla="*/ 169 w 188"/>
                <a:gd name="T27" fmla="*/ 142 h 188"/>
                <a:gd name="T28" fmla="*/ 148 w 188"/>
                <a:gd name="T29" fmla="*/ 142 h 188"/>
                <a:gd name="T30" fmla="*/ 150 w 188"/>
                <a:gd name="T31" fmla="*/ 163 h 188"/>
                <a:gd name="T32" fmla="*/ 131 w 188"/>
                <a:gd name="T33" fmla="*/ 156 h 188"/>
                <a:gd name="T34" fmla="*/ 126 w 188"/>
                <a:gd name="T35" fmla="*/ 177 h 188"/>
                <a:gd name="T36" fmla="*/ 110 w 188"/>
                <a:gd name="T37" fmla="*/ 164 h 188"/>
                <a:gd name="T38" fmla="*/ 99 w 188"/>
                <a:gd name="T39" fmla="*/ 183 h 188"/>
                <a:gd name="T40" fmla="*/ 87 w 188"/>
                <a:gd name="T41" fmla="*/ 166 h 188"/>
                <a:gd name="T42" fmla="*/ 71 w 188"/>
                <a:gd name="T43" fmla="*/ 180 h 188"/>
                <a:gd name="T44" fmla="*/ 65 w 188"/>
                <a:gd name="T45" fmla="*/ 160 h 188"/>
                <a:gd name="T46" fmla="*/ 46 w 188"/>
                <a:gd name="T47" fmla="*/ 168 h 188"/>
                <a:gd name="T48" fmla="*/ 46 w 188"/>
                <a:gd name="T49" fmla="*/ 148 h 188"/>
                <a:gd name="T50" fmla="*/ 25 w 188"/>
                <a:gd name="T51" fmla="*/ 150 h 188"/>
                <a:gd name="T52" fmla="*/ 32 w 188"/>
                <a:gd name="T53" fmla="*/ 130 h 188"/>
                <a:gd name="T54" fmla="*/ 11 w 188"/>
                <a:gd name="T55" fmla="*/ 125 h 188"/>
                <a:gd name="T56" fmla="*/ 24 w 188"/>
                <a:gd name="T57" fmla="*/ 109 h 188"/>
                <a:gd name="T58" fmla="*/ 5 w 188"/>
                <a:gd name="T59" fmla="*/ 98 h 188"/>
                <a:gd name="T60" fmla="*/ 22 w 188"/>
                <a:gd name="T61" fmla="*/ 87 h 188"/>
                <a:gd name="T62" fmla="*/ 8 w 188"/>
                <a:gd name="T63" fmla="*/ 70 h 188"/>
                <a:gd name="T64" fmla="*/ 28 w 188"/>
                <a:gd name="T65" fmla="*/ 65 h 188"/>
                <a:gd name="T66" fmla="*/ 20 w 188"/>
                <a:gd name="T67" fmla="*/ 45 h 188"/>
                <a:gd name="T68" fmla="*/ 40 w 188"/>
                <a:gd name="T69" fmla="*/ 46 h 188"/>
                <a:gd name="T70" fmla="*/ 38 w 188"/>
                <a:gd name="T71" fmla="*/ 24 h 188"/>
                <a:gd name="T72" fmla="*/ 58 w 188"/>
                <a:gd name="T73" fmla="*/ 31 h 188"/>
                <a:gd name="T74" fmla="*/ 63 w 188"/>
                <a:gd name="T75" fmla="*/ 10 h 188"/>
                <a:gd name="T76" fmla="*/ 79 w 188"/>
                <a:gd name="T77" fmla="*/ 23 h 188"/>
                <a:gd name="T78" fmla="*/ 90 w 188"/>
                <a:gd name="T79" fmla="*/ 5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" h="188">
                  <a:moveTo>
                    <a:pt x="99" y="5"/>
                  </a:moveTo>
                  <a:cubicBezTo>
                    <a:pt x="101" y="22"/>
                    <a:pt x="101" y="22"/>
                    <a:pt x="101" y="22"/>
                  </a:cubicBezTo>
                  <a:cubicBezTo>
                    <a:pt x="102" y="26"/>
                    <a:pt x="108" y="27"/>
                    <a:pt x="110" y="23"/>
                  </a:cubicBezTo>
                  <a:cubicBezTo>
                    <a:pt x="118" y="8"/>
                    <a:pt x="118" y="8"/>
                    <a:pt x="118" y="8"/>
                  </a:cubicBezTo>
                  <a:cubicBezTo>
                    <a:pt x="120" y="3"/>
                    <a:pt x="127" y="5"/>
                    <a:pt x="126" y="10"/>
                  </a:cubicBezTo>
                  <a:cubicBezTo>
                    <a:pt x="123" y="27"/>
                    <a:pt x="123" y="27"/>
                    <a:pt x="123" y="27"/>
                  </a:cubicBezTo>
                  <a:cubicBezTo>
                    <a:pt x="123" y="32"/>
                    <a:pt x="128" y="34"/>
                    <a:pt x="131" y="31"/>
                  </a:cubicBezTo>
                  <a:cubicBezTo>
                    <a:pt x="143" y="19"/>
                    <a:pt x="143" y="19"/>
                    <a:pt x="143" y="19"/>
                  </a:cubicBezTo>
                  <a:cubicBezTo>
                    <a:pt x="147" y="15"/>
                    <a:pt x="153" y="20"/>
                    <a:pt x="150" y="24"/>
                  </a:cubicBezTo>
                  <a:cubicBezTo>
                    <a:pt x="142" y="39"/>
                    <a:pt x="142" y="39"/>
                    <a:pt x="142" y="39"/>
                  </a:cubicBezTo>
                  <a:cubicBezTo>
                    <a:pt x="140" y="43"/>
                    <a:pt x="145" y="48"/>
                    <a:pt x="148" y="46"/>
                  </a:cubicBezTo>
                  <a:cubicBezTo>
                    <a:pt x="164" y="38"/>
                    <a:pt x="164" y="38"/>
                    <a:pt x="164" y="38"/>
                  </a:cubicBezTo>
                  <a:cubicBezTo>
                    <a:pt x="168" y="35"/>
                    <a:pt x="173" y="41"/>
                    <a:pt x="169" y="45"/>
                  </a:cubicBezTo>
                  <a:cubicBezTo>
                    <a:pt x="157" y="57"/>
                    <a:pt x="157" y="57"/>
                    <a:pt x="157" y="57"/>
                  </a:cubicBezTo>
                  <a:cubicBezTo>
                    <a:pt x="154" y="60"/>
                    <a:pt x="156" y="65"/>
                    <a:pt x="161" y="65"/>
                  </a:cubicBezTo>
                  <a:cubicBezTo>
                    <a:pt x="177" y="62"/>
                    <a:pt x="177" y="62"/>
                    <a:pt x="177" y="62"/>
                  </a:cubicBezTo>
                  <a:cubicBezTo>
                    <a:pt x="183" y="61"/>
                    <a:pt x="185" y="68"/>
                    <a:pt x="180" y="70"/>
                  </a:cubicBezTo>
                  <a:cubicBezTo>
                    <a:pt x="165" y="78"/>
                    <a:pt x="165" y="78"/>
                    <a:pt x="165" y="78"/>
                  </a:cubicBezTo>
                  <a:cubicBezTo>
                    <a:pt x="161" y="80"/>
                    <a:pt x="162" y="86"/>
                    <a:pt x="166" y="87"/>
                  </a:cubicBezTo>
                  <a:cubicBezTo>
                    <a:pt x="183" y="89"/>
                    <a:pt x="183" y="89"/>
                    <a:pt x="183" y="89"/>
                  </a:cubicBezTo>
                  <a:cubicBezTo>
                    <a:pt x="188" y="90"/>
                    <a:pt x="188" y="97"/>
                    <a:pt x="183" y="98"/>
                  </a:cubicBezTo>
                  <a:cubicBezTo>
                    <a:pt x="166" y="101"/>
                    <a:pt x="166" y="101"/>
                    <a:pt x="166" y="101"/>
                  </a:cubicBezTo>
                  <a:cubicBezTo>
                    <a:pt x="162" y="101"/>
                    <a:pt x="161" y="107"/>
                    <a:pt x="165" y="109"/>
                  </a:cubicBezTo>
                  <a:cubicBezTo>
                    <a:pt x="180" y="117"/>
                    <a:pt x="180" y="117"/>
                    <a:pt x="180" y="117"/>
                  </a:cubicBezTo>
                  <a:cubicBezTo>
                    <a:pt x="185" y="119"/>
                    <a:pt x="183" y="126"/>
                    <a:pt x="177" y="125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56" y="122"/>
                    <a:pt x="154" y="127"/>
                    <a:pt x="157" y="130"/>
                  </a:cubicBezTo>
                  <a:cubicBezTo>
                    <a:pt x="169" y="142"/>
                    <a:pt x="169" y="142"/>
                    <a:pt x="169" y="142"/>
                  </a:cubicBezTo>
                  <a:cubicBezTo>
                    <a:pt x="173" y="146"/>
                    <a:pt x="168" y="152"/>
                    <a:pt x="164" y="150"/>
                  </a:cubicBezTo>
                  <a:cubicBezTo>
                    <a:pt x="148" y="142"/>
                    <a:pt x="148" y="142"/>
                    <a:pt x="148" y="142"/>
                  </a:cubicBezTo>
                  <a:cubicBezTo>
                    <a:pt x="145" y="140"/>
                    <a:pt x="140" y="144"/>
                    <a:pt x="142" y="148"/>
                  </a:cubicBezTo>
                  <a:cubicBezTo>
                    <a:pt x="150" y="163"/>
                    <a:pt x="150" y="163"/>
                    <a:pt x="150" y="163"/>
                  </a:cubicBezTo>
                  <a:cubicBezTo>
                    <a:pt x="153" y="168"/>
                    <a:pt x="147" y="172"/>
                    <a:pt x="143" y="168"/>
                  </a:cubicBezTo>
                  <a:cubicBezTo>
                    <a:pt x="131" y="156"/>
                    <a:pt x="131" y="156"/>
                    <a:pt x="131" y="156"/>
                  </a:cubicBezTo>
                  <a:cubicBezTo>
                    <a:pt x="128" y="153"/>
                    <a:pt x="123" y="156"/>
                    <a:pt x="123" y="160"/>
                  </a:cubicBezTo>
                  <a:cubicBezTo>
                    <a:pt x="126" y="177"/>
                    <a:pt x="126" y="177"/>
                    <a:pt x="126" y="177"/>
                  </a:cubicBezTo>
                  <a:cubicBezTo>
                    <a:pt x="127" y="182"/>
                    <a:pt x="120" y="184"/>
                    <a:pt x="118" y="180"/>
                  </a:cubicBezTo>
                  <a:cubicBezTo>
                    <a:pt x="110" y="164"/>
                    <a:pt x="110" y="164"/>
                    <a:pt x="110" y="164"/>
                  </a:cubicBezTo>
                  <a:cubicBezTo>
                    <a:pt x="108" y="160"/>
                    <a:pt x="102" y="161"/>
                    <a:pt x="101" y="166"/>
                  </a:cubicBezTo>
                  <a:cubicBezTo>
                    <a:pt x="99" y="183"/>
                    <a:pt x="99" y="183"/>
                    <a:pt x="99" y="183"/>
                  </a:cubicBezTo>
                  <a:cubicBezTo>
                    <a:pt x="98" y="188"/>
                    <a:pt x="91" y="188"/>
                    <a:pt x="90" y="183"/>
                  </a:cubicBezTo>
                  <a:cubicBezTo>
                    <a:pt x="87" y="166"/>
                    <a:pt x="87" y="166"/>
                    <a:pt x="87" y="166"/>
                  </a:cubicBezTo>
                  <a:cubicBezTo>
                    <a:pt x="87" y="161"/>
                    <a:pt x="81" y="160"/>
                    <a:pt x="79" y="164"/>
                  </a:cubicBezTo>
                  <a:cubicBezTo>
                    <a:pt x="71" y="180"/>
                    <a:pt x="71" y="180"/>
                    <a:pt x="71" y="180"/>
                  </a:cubicBezTo>
                  <a:cubicBezTo>
                    <a:pt x="69" y="184"/>
                    <a:pt x="62" y="182"/>
                    <a:pt x="63" y="177"/>
                  </a:cubicBezTo>
                  <a:cubicBezTo>
                    <a:pt x="65" y="160"/>
                    <a:pt x="65" y="160"/>
                    <a:pt x="65" y="160"/>
                  </a:cubicBezTo>
                  <a:cubicBezTo>
                    <a:pt x="66" y="156"/>
                    <a:pt x="61" y="153"/>
                    <a:pt x="58" y="156"/>
                  </a:cubicBezTo>
                  <a:cubicBezTo>
                    <a:pt x="46" y="168"/>
                    <a:pt x="46" y="168"/>
                    <a:pt x="46" y="168"/>
                  </a:cubicBezTo>
                  <a:cubicBezTo>
                    <a:pt x="42" y="172"/>
                    <a:pt x="36" y="168"/>
                    <a:pt x="38" y="163"/>
                  </a:cubicBezTo>
                  <a:cubicBezTo>
                    <a:pt x="46" y="148"/>
                    <a:pt x="46" y="148"/>
                    <a:pt x="46" y="148"/>
                  </a:cubicBezTo>
                  <a:cubicBezTo>
                    <a:pt x="48" y="144"/>
                    <a:pt x="44" y="140"/>
                    <a:pt x="40" y="142"/>
                  </a:cubicBezTo>
                  <a:cubicBezTo>
                    <a:pt x="25" y="150"/>
                    <a:pt x="25" y="150"/>
                    <a:pt x="25" y="150"/>
                  </a:cubicBezTo>
                  <a:cubicBezTo>
                    <a:pt x="20" y="152"/>
                    <a:pt x="16" y="146"/>
                    <a:pt x="20" y="142"/>
                  </a:cubicBezTo>
                  <a:cubicBezTo>
                    <a:pt x="32" y="130"/>
                    <a:pt x="32" y="130"/>
                    <a:pt x="32" y="130"/>
                  </a:cubicBezTo>
                  <a:cubicBezTo>
                    <a:pt x="35" y="127"/>
                    <a:pt x="32" y="122"/>
                    <a:pt x="28" y="123"/>
                  </a:cubicBezTo>
                  <a:cubicBezTo>
                    <a:pt x="11" y="125"/>
                    <a:pt x="11" y="125"/>
                    <a:pt x="11" y="125"/>
                  </a:cubicBezTo>
                  <a:cubicBezTo>
                    <a:pt x="6" y="126"/>
                    <a:pt x="4" y="119"/>
                    <a:pt x="8" y="117"/>
                  </a:cubicBezTo>
                  <a:cubicBezTo>
                    <a:pt x="24" y="109"/>
                    <a:pt x="24" y="109"/>
                    <a:pt x="24" y="109"/>
                  </a:cubicBezTo>
                  <a:cubicBezTo>
                    <a:pt x="27" y="107"/>
                    <a:pt x="27" y="101"/>
                    <a:pt x="22" y="101"/>
                  </a:cubicBezTo>
                  <a:cubicBezTo>
                    <a:pt x="5" y="98"/>
                    <a:pt x="5" y="98"/>
                    <a:pt x="5" y="98"/>
                  </a:cubicBezTo>
                  <a:cubicBezTo>
                    <a:pt x="0" y="97"/>
                    <a:pt x="0" y="90"/>
                    <a:pt x="5" y="89"/>
                  </a:cubicBezTo>
                  <a:cubicBezTo>
                    <a:pt x="22" y="87"/>
                    <a:pt x="22" y="87"/>
                    <a:pt x="22" y="87"/>
                  </a:cubicBezTo>
                  <a:cubicBezTo>
                    <a:pt x="27" y="86"/>
                    <a:pt x="27" y="80"/>
                    <a:pt x="24" y="78"/>
                  </a:cubicBezTo>
                  <a:cubicBezTo>
                    <a:pt x="8" y="70"/>
                    <a:pt x="8" y="70"/>
                    <a:pt x="8" y="70"/>
                  </a:cubicBezTo>
                  <a:cubicBezTo>
                    <a:pt x="4" y="68"/>
                    <a:pt x="6" y="61"/>
                    <a:pt x="11" y="62"/>
                  </a:cubicBezTo>
                  <a:cubicBezTo>
                    <a:pt x="28" y="65"/>
                    <a:pt x="28" y="65"/>
                    <a:pt x="28" y="65"/>
                  </a:cubicBezTo>
                  <a:cubicBezTo>
                    <a:pt x="32" y="65"/>
                    <a:pt x="35" y="60"/>
                    <a:pt x="32" y="57"/>
                  </a:cubicBezTo>
                  <a:cubicBezTo>
                    <a:pt x="20" y="45"/>
                    <a:pt x="20" y="45"/>
                    <a:pt x="20" y="45"/>
                  </a:cubicBezTo>
                  <a:cubicBezTo>
                    <a:pt x="16" y="41"/>
                    <a:pt x="20" y="35"/>
                    <a:pt x="25" y="38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44" y="48"/>
                    <a:pt x="48" y="43"/>
                    <a:pt x="46" y="39"/>
                  </a:cubicBezTo>
                  <a:cubicBezTo>
                    <a:pt x="38" y="24"/>
                    <a:pt x="38" y="24"/>
                    <a:pt x="38" y="24"/>
                  </a:cubicBezTo>
                  <a:cubicBezTo>
                    <a:pt x="36" y="20"/>
                    <a:pt x="42" y="15"/>
                    <a:pt x="46" y="19"/>
                  </a:cubicBezTo>
                  <a:cubicBezTo>
                    <a:pt x="58" y="31"/>
                    <a:pt x="58" y="31"/>
                    <a:pt x="58" y="31"/>
                  </a:cubicBezTo>
                  <a:cubicBezTo>
                    <a:pt x="61" y="34"/>
                    <a:pt x="66" y="32"/>
                    <a:pt x="65" y="27"/>
                  </a:cubicBezTo>
                  <a:cubicBezTo>
                    <a:pt x="63" y="10"/>
                    <a:pt x="63" y="10"/>
                    <a:pt x="63" y="10"/>
                  </a:cubicBezTo>
                  <a:cubicBezTo>
                    <a:pt x="62" y="5"/>
                    <a:pt x="69" y="3"/>
                    <a:pt x="71" y="8"/>
                  </a:cubicBezTo>
                  <a:cubicBezTo>
                    <a:pt x="79" y="23"/>
                    <a:pt x="79" y="23"/>
                    <a:pt x="79" y="23"/>
                  </a:cubicBezTo>
                  <a:cubicBezTo>
                    <a:pt x="81" y="27"/>
                    <a:pt x="87" y="26"/>
                    <a:pt x="87" y="22"/>
                  </a:cubicBezTo>
                  <a:cubicBezTo>
                    <a:pt x="90" y="5"/>
                    <a:pt x="90" y="5"/>
                    <a:pt x="90" y="5"/>
                  </a:cubicBezTo>
                  <a:cubicBezTo>
                    <a:pt x="91" y="0"/>
                    <a:pt x="98" y="0"/>
                    <a:pt x="99" y="5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55" name="Rechteck 54"/>
          <p:cNvSpPr/>
          <p:nvPr/>
        </p:nvSpPr>
        <p:spPr bwMode="gray">
          <a:xfrm>
            <a:off x="5796886" y="3449630"/>
            <a:ext cx="739471" cy="739471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88" name="TextBox 6"/>
          <p:cNvSpPr txBox="1"/>
          <p:nvPr/>
        </p:nvSpPr>
        <p:spPr bwMode="gray">
          <a:xfrm>
            <a:off x="7055392" y="4687410"/>
            <a:ext cx="1249952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b="1" dirty="0" smtClean="0">
                <a:solidFill>
                  <a:schemeClr val="tx1"/>
                </a:solidFill>
              </a:rPr>
              <a:t>Волос человека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100 </a:t>
            </a:r>
            <a:r>
              <a:rPr lang="el-GR" sz="1600" dirty="0" smtClean="0">
                <a:solidFill>
                  <a:schemeClr val="tx1"/>
                </a:solidFill>
              </a:rPr>
              <a:t>μ</a:t>
            </a:r>
            <a:r>
              <a:rPr lang="en-US" sz="1600" dirty="0" smtClean="0">
                <a:solidFill>
                  <a:schemeClr val="tx1"/>
                </a:solidFill>
              </a:rPr>
              <a:t>m </a:t>
            </a:r>
            <a:br>
              <a:rPr lang="en-US" sz="1600" dirty="0" smtClean="0">
                <a:solidFill>
                  <a:schemeClr val="tx1"/>
                </a:solidFill>
              </a:rPr>
            </a:br>
            <a:endParaRPr lang="en-US" sz="1600" dirty="0" smtClean="0">
              <a:solidFill>
                <a:schemeClr val="tx1"/>
              </a:solidFill>
            </a:endParaRPr>
          </a:p>
        </p:txBody>
      </p:sp>
      <p:grpSp>
        <p:nvGrpSpPr>
          <p:cNvPr id="9" name="Gruppieren 178176"/>
          <p:cNvGrpSpPr/>
          <p:nvPr/>
        </p:nvGrpSpPr>
        <p:grpSpPr bwMode="gray">
          <a:xfrm>
            <a:off x="7692657" y="3118697"/>
            <a:ext cx="127781" cy="998628"/>
            <a:chOff x="7692657" y="2855674"/>
            <a:chExt cx="127781" cy="998628"/>
          </a:xfrm>
        </p:grpSpPr>
        <p:cxnSp>
          <p:nvCxnSpPr>
            <p:cNvPr id="89" name="Gerade Verbindung 88"/>
            <p:cNvCxnSpPr/>
            <p:nvPr/>
          </p:nvCxnSpPr>
          <p:spPr bwMode="gray">
            <a:xfrm>
              <a:off x="7756547" y="2855674"/>
              <a:ext cx="0" cy="998628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1" name="Gerade Verbindung 90"/>
            <p:cNvCxnSpPr/>
            <p:nvPr/>
          </p:nvCxnSpPr>
          <p:spPr bwMode="gray">
            <a:xfrm flipH="1">
              <a:off x="7692657" y="2855674"/>
              <a:ext cx="127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93" name="Gerade Verbindung 92"/>
            <p:cNvCxnSpPr/>
            <p:nvPr/>
          </p:nvCxnSpPr>
          <p:spPr bwMode="gray">
            <a:xfrm flipH="1">
              <a:off x="7692657" y="3854302"/>
              <a:ext cx="127781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00646E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94" name="TextBox 6"/>
          <p:cNvSpPr txBox="1"/>
          <p:nvPr/>
        </p:nvSpPr>
        <p:spPr bwMode="gray">
          <a:xfrm>
            <a:off x="5769727" y="4687410"/>
            <a:ext cx="124995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b="1" dirty="0" smtClean="0">
                <a:solidFill>
                  <a:schemeClr val="tx1"/>
                </a:solidFill>
              </a:rPr>
              <a:t>Соль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70 </a:t>
            </a:r>
            <a:r>
              <a:rPr lang="el-GR" sz="1600" dirty="0" smtClean="0">
                <a:solidFill>
                  <a:schemeClr val="tx1"/>
                </a:solidFill>
              </a:rPr>
              <a:t>μ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</a:p>
        </p:txBody>
      </p:sp>
      <p:cxnSp>
        <p:nvCxnSpPr>
          <p:cNvPr id="95" name="Gerade Verbindung 94"/>
          <p:cNvCxnSpPr/>
          <p:nvPr/>
        </p:nvCxnSpPr>
        <p:spPr bwMode="gray">
          <a:xfrm>
            <a:off x="627063" y="4489505"/>
            <a:ext cx="7678281" cy="0"/>
          </a:xfrm>
          <a:prstGeom prst="line">
            <a:avLst/>
          </a:prstGeom>
          <a:solidFill>
            <a:schemeClr val="tx2"/>
          </a:solidFill>
          <a:ln w="38100" cap="flat" cmpd="sng" algn="ctr">
            <a:solidFill>
              <a:schemeClr val="accent1"/>
            </a:solidFill>
            <a:prstDash val="solid"/>
            <a:round/>
            <a:headEnd type="none" w="med" len="med"/>
            <a:tailEnd type="triangle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7" name="TextBox 6"/>
          <p:cNvSpPr txBox="1"/>
          <p:nvPr/>
        </p:nvSpPr>
        <p:spPr bwMode="gray">
          <a:xfrm>
            <a:off x="627063" y="4687410"/>
            <a:ext cx="1249952" cy="828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1600" b="1" dirty="0" smtClean="0">
                <a:solidFill>
                  <a:schemeClr val="tx1"/>
                </a:solidFill>
              </a:rPr>
              <a:t>PM2.5</a:t>
            </a: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98" name="TextBox 6"/>
          <p:cNvSpPr txBox="1"/>
          <p:nvPr/>
        </p:nvSpPr>
        <p:spPr bwMode="gray">
          <a:xfrm>
            <a:off x="3168092" y="4687410"/>
            <a:ext cx="124995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1600" b="1" dirty="0" smtClean="0">
                <a:solidFill>
                  <a:schemeClr val="tx1"/>
                </a:solidFill>
              </a:rPr>
              <a:t>PM10</a:t>
            </a:r>
            <a:r>
              <a:rPr lang="en-US" sz="1600" dirty="0" smtClean="0">
                <a:solidFill>
                  <a:schemeClr val="tx1"/>
                </a:solidFill>
              </a:rPr>
              <a:t/>
            </a:r>
            <a:br>
              <a:rPr lang="en-US" sz="1600" dirty="0" smtClean="0">
                <a:solidFill>
                  <a:schemeClr val="tx1"/>
                </a:solidFill>
              </a:rPr>
            </a:br>
            <a:endParaRPr lang="en-US" sz="1600" dirty="0" smtClean="0">
              <a:solidFill>
                <a:schemeClr val="tx1"/>
              </a:solidFill>
            </a:endParaRPr>
          </a:p>
        </p:txBody>
      </p:sp>
      <p:sp>
        <p:nvSpPr>
          <p:cNvPr id="99" name="TextBox 6"/>
          <p:cNvSpPr txBox="1"/>
          <p:nvPr/>
        </p:nvSpPr>
        <p:spPr bwMode="gray">
          <a:xfrm>
            <a:off x="1927531" y="4656413"/>
            <a:ext cx="1249952" cy="5822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b="1" dirty="0" smtClean="0">
                <a:solidFill>
                  <a:schemeClr val="tx1"/>
                </a:solidFill>
              </a:rPr>
              <a:t>Плесень</a:t>
            </a: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1600" dirty="0" smtClean="0">
                <a:solidFill>
                  <a:schemeClr val="tx1"/>
                </a:solidFill>
              </a:rPr>
              <a:t>8 </a:t>
            </a:r>
            <a:r>
              <a:rPr lang="el-GR" sz="1600" dirty="0" smtClean="0">
                <a:solidFill>
                  <a:schemeClr val="tx1"/>
                </a:solidFill>
              </a:rPr>
              <a:t>μ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</a:p>
        </p:txBody>
      </p:sp>
      <p:sp>
        <p:nvSpPr>
          <p:cNvPr id="100" name="TextBox 6"/>
          <p:cNvSpPr txBox="1"/>
          <p:nvPr/>
        </p:nvSpPr>
        <p:spPr bwMode="gray">
          <a:xfrm>
            <a:off x="4484061" y="4687410"/>
            <a:ext cx="124995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b="1" dirty="0" smtClean="0">
                <a:solidFill>
                  <a:schemeClr val="tx1"/>
                </a:solidFill>
              </a:rPr>
              <a:t>Пыль</a:t>
            </a:r>
            <a:r>
              <a:rPr lang="en-US" sz="1600" b="1" dirty="0" smtClean="0">
                <a:solidFill>
                  <a:schemeClr val="tx1"/>
                </a:solidFill>
              </a:rPr>
              <a:t/>
            </a:r>
            <a:br>
              <a:rPr lang="en-US" sz="1600" b="1" dirty="0" smtClean="0">
                <a:solidFill>
                  <a:schemeClr val="tx1"/>
                </a:solidFill>
              </a:rPr>
            </a:br>
            <a:r>
              <a:rPr lang="en-US" sz="1600" dirty="0" smtClean="0">
                <a:solidFill>
                  <a:schemeClr val="tx1"/>
                </a:solidFill>
              </a:rPr>
              <a:t>50 </a:t>
            </a:r>
            <a:r>
              <a:rPr lang="el-GR" sz="1600" dirty="0" smtClean="0">
                <a:solidFill>
                  <a:schemeClr val="tx1"/>
                </a:solidFill>
              </a:rPr>
              <a:t>μ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</a:p>
        </p:txBody>
      </p:sp>
      <p:sp>
        <p:nvSpPr>
          <p:cNvPr id="84" name="Rechteck 83"/>
          <p:cNvSpPr/>
          <p:nvPr/>
        </p:nvSpPr>
        <p:spPr bwMode="gray">
          <a:xfrm>
            <a:off x="4228753" y="1506023"/>
            <a:ext cx="965007" cy="52187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74733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4690" name="Objekt 114689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1452766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Folie" r:id="rId6" imgW="360" imgH="360" progId="TCLayout.ActiveDocument.1">
                  <p:embed/>
                </p:oleObj>
              </mc:Choice>
              <mc:Fallback>
                <p:oleObj name="think-cell Foli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/>
          <p:cNvSpPr/>
          <p:nvPr/>
        </p:nvSpPr>
        <p:spPr bwMode="gray">
          <a:xfrm>
            <a:off x="6243638" y="1557338"/>
            <a:ext cx="5954712" cy="4643437"/>
          </a:xfrm>
          <a:prstGeom prst="rect">
            <a:avLst/>
          </a:prstGeom>
          <a:solidFill>
            <a:srgbClr val="DFE6ED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sp>
        <p:nvSpPr>
          <p:cNvPr id="164236" name="Titel 164235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Опасность мелкой пыли и смога</a:t>
            </a:r>
            <a:endParaRPr lang="en-US" dirty="0"/>
          </a:p>
        </p:txBody>
      </p:sp>
      <p:sp>
        <p:nvSpPr>
          <p:cNvPr id="170022" name="Freeform 10"/>
          <p:cNvSpPr>
            <a:spLocks/>
          </p:cNvSpPr>
          <p:nvPr/>
        </p:nvSpPr>
        <p:spPr bwMode="gray">
          <a:xfrm>
            <a:off x="7234716" y="1710377"/>
            <a:ext cx="3926889" cy="4498274"/>
          </a:xfrm>
          <a:custGeom>
            <a:avLst/>
            <a:gdLst>
              <a:gd name="T0" fmla="*/ 1850 w 1860"/>
              <a:gd name="T1" fmla="*/ 2044 h 2117"/>
              <a:gd name="T2" fmla="*/ 1720 w 1860"/>
              <a:gd name="T3" fmla="*/ 1649 h 2117"/>
              <a:gd name="T4" fmla="*/ 1715 w 1860"/>
              <a:gd name="T5" fmla="*/ 1628 h 2117"/>
              <a:gd name="T6" fmla="*/ 1668 w 1860"/>
              <a:gd name="T7" fmla="*/ 1322 h 2117"/>
              <a:gd name="T8" fmla="*/ 1598 w 1860"/>
              <a:gd name="T9" fmla="*/ 1057 h 2117"/>
              <a:gd name="T10" fmla="*/ 1372 w 1860"/>
              <a:gd name="T11" fmla="*/ 990 h 2117"/>
              <a:gd name="T12" fmla="*/ 1189 w 1860"/>
              <a:gd name="T13" fmla="*/ 854 h 2117"/>
              <a:gd name="T14" fmla="*/ 1177 w 1860"/>
              <a:gd name="T15" fmla="*/ 647 h 2117"/>
              <a:gd name="T16" fmla="*/ 1212 w 1860"/>
              <a:gd name="T17" fmla="*/ 647 h 2117"/>
              <a:gd name="T18" fmla="*/ 1208 w 1860"/>
              <a:gd name="T19" fmla="*/ 620 h 2117"/>
              <a:gd name="T20" fmla="*/ 1185 w 1860"/>
              <a:gd name="T21" fmla="*/ 86 h 2117"/>
              <a:gd name="T22" fmla="*/ 744 w 1860"/>
              <a:gd name="T23" fmla="*/ 74 h 2117"/>
              <a:gd name="T24" fmla="*/ 693 w 1860"/>
              <a:gd name="T25" fmla="*/ 230 h 2117"/>
              <a:gd name="T26" fmla="*/ 682 w 1860"/>
              <a:gd name="T27" fmla="*/ 374 h 2117"/>
              <a:gd name="T28" fmla="*/ 592 w 1860"/>
              <a:gd name="T29" fmla="*/ 484 h 2117"/>
              <a:gd name="T30" fmla="*/ 635 w 1860"/>
              <a:gd name="T31" fmla="*/ 519 h 2117"/>
              <a:gd name="T32" fmla="*/ 643 w 1860"/>
              <a:gd name="T33" fmla="*/ 589 h 2117"/>
              <a:gd name="T34" fmla="*/ 670 w 1860"/>
              <a:gd name="T35" fmla="*/ 671 h 2117"/>
              <a:gd name="T36" fmla="*/ 690 w 1860"/>
              <a:gd name="T37" fmla="*/ 760 h 2117"/>
              <a:gd name="T38" fmla="*/ 799 w 1860"/>
              <a:gd name="T39" fmla="*/ 776 h 2117"/>
              <a:gd name="T40" fmla="*/ 810 w 1860"/>
              <a:gd name="T41" fmla="*/ 885 h 2117"/>
              <a:gd name="T42" fmla="*/ 631 w 1860"/>
              <a:gd name="T43" fmla="*/ 971 h 2117"/>
              <a:gd name="T44" fmla="*/ 413 w 1860"/>
              <a:gd name="T45" fmla="*/ 1041 h 2117"/>
              <a:gd name="T46" fmla="*/ 198 w 1860"/>
              <a:gd name="T47" fmla="*/ 1361 h 2117"/>
              <a:gd name="T48" fmla="*/ 155 w 1860"/>
              <a:gd name="T49" fmla="*/ 1641 h 2117"/>
              <a:gd name="T50" fmla="*/ 0 w 1860"/>
              <a:gd name="T51" fmla="*/ 2109 h 2117"/>
              <a:gd name="T52" fmla="*/ 241 w 1860"/>
              <a:gd name="T53" fmla="*/ 2109 h 2117"/>
              <a:gd name="T54" fmla="*/ 319 w 1860"/>
              <a:gd name="T55" fmla="*/ 1969 h 2117"/>
              <a:gd name="T56" fmla="*/ 405 w 1860"/>
              <a:gd name="T57" fmla="*/ 1719 h 2117"/>
              <a:gd name="T58" fmla="*/ 410 w 1860"/>
              <a:gd name="T59" fmla="*/ 1706 h 2117"/>
              <a:gd name="T60" fmla="*/ 444 w 1860"/>
              <a:gd name="T61" fmla="*/ 1431 h 2117"/>
              <a:gd name="T62" fmla="*/ 448 w 1860"/>
              <a:gd name="T63" fmla="*/ 1614 h 2117"/>
              <a:gd name="T64" fmla="*/ 491 w 1860"/>
              <a:gd name="T65" fmla="*/ 1934 h 2117"/>
              <a:gd name="T66" fmla="*/ 432 w 1860"/>
              <a:gd name="T67" fmla="*/ 2117 h 2117"/>
              <a:gd name="T68" fmla="*/ 1430 w 1860"/>
              <a:gd name="T69" fmla="*/ 2117 h 2117"/>
              <a:gd name="T70" fmla="*/ 1383 w 1860"/>
              <a:gd name="T71" fmla="*/ 1914 h 2117"/>
              <a:gd name="T72" fmla="*/ 1422 w 1860"/>
              <a:gd name="T73" fmla="*/ 1653 h 2117"/>
              <a:gd name="T74" fmla="*/ 1403 w 1860"/>
              <a:gd name="T75" fmla="*/ 1443 h 2117"/>
              <a:gd name="T76" fmla="*/ 1454 w 1860"/>
              <a:gd name="T77" fmla="*/ 1665 h 2117"/>
              <a:gd name="T78" fmla="*/ 1469 w 1860"/>
              <a:gd name="T79" fmla="*/ 1864 h 2117"/>
              <a:gd name="T80" fmla="*/ 1606 w 1860"/>
              <a:gd name="T81" fmla="*/ 2090 h 2117"/>
              <a:gd name="T82" fmla="*/ 1627 w 1860"/>
              <a:gd name="T83" fmla="*/ 2109 h 2117"/>
              <a:gd name="T84" fmla="*/ 1851 w 1860"/>
              <a:gd name="T85" fmla="*/ 2109 h 2117"/>
              <a:gd name="T86" fmla="*/ 1850 w 1860"/>
              <a:gd name="T87" fmla="*/ 2044 h 2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1860" h="2117">
                <a:moveTo>
                  <a:pt x="1850" y="2044"/>
                </a:moveTo>
                <a:cubicBezTo>
                  <a:pt x="1860" y="1925"/>
                  <a:pt x="1720" y="1649"/>
                  <a:pt x="1720" y="1649"/>
                </a:cubicBezTo>
                <a:cubicBezTo>
                  <a:pt x="1720" y="1649"/>
                  <a:pt x="1694" y="1769"/>
                  <a:pt x="1715" y="1628"/>
                </a:cubicBezTo>
                <a:cubicBezTo>
                  <a:pt x="1736" y="1488"/>
                  <a:pt x="1668" y="1322"/>
                  <a:pt x="1668" y="1322"/>
                </a:cubicBezTo>
                <a:cubicBezTo>
                  <a:pt x="1678" y="1166"/>
                  <a:pt x="1598" y="1057"/>
                  <a:pt x="1598" y="1057"/>
                </a:cubicBezTo>
                <a:cubicBezTo>
                  <a:pt x="1372" y="990"/>
                  <a:pt x="1372" y="990"/>
                  <a:pt x="1372" y="990"/>
                </a:cubicBezTo>
                <a:cubicBezTo>
                  <a:pt x="1290" y="951"/>
                  <a:pt x="1189" y="854"/>
                  <a:pt x="1189" y="854"/>
                </a:cubicBezTo>
                <a:cubicBezTo>
                  <a:pt x="1130" y="721"/>
                  <a:pt x="1177" y="647"/>
                  <a:pt x="1177" y="647"/>
                </a:cubicBezTo>
                <a:cubicBezTo>
                  <a:pt x="1212" y="647"/>
                  <a:pt x="1212" y="647"/>
                  <a:pt x="1212" y="647"/>
                </a:cubicBezTo>
                <a:cubicBezTo>
                  <a:pt x="1208" y="620"/>
                  <a:pt x="1208" y="620"/>
                  <a:pt x="1208" y="620"/>
                </a:cubicBezTo>
                <a:cubicBezTo>
                  <a:pt x="1450" y="312"/>
                  <a:pt x="1185" y="86"/>
                  <a:pt x="1185" y="86"/>
                </a:cubicBezTo>
                <a:cubicBezTo>
                  <a:pt x="1048" y="0"/>
                  <a:pt x="744" y="74"/>
                  <a:pt x="744" y="74"/>
                </a:cubicBezTo>
                <a:cubicBezTo>
                  <a:pt x="658" y="211"/>
                  <a:pt x="693" y="230"/>
                  <a:pt x="693" y="230"/>
                </a:cubicBezTo>
                <a:cubicBezTo>
                  <a:pt x="682" y="374"/>
                  <a:pt x="682" y="374"/>
                  <a:pt x="682" y="374"/>
                </a:cubicBezTo>
                <a:cubicBezTo>
                  <a:pt x="592" y="484"/>
                  <a:pt x="592" y="484"/>
                  <a:pt x="592" y="484"/>
                </a:cubicBezTo>
                <a:cubicBezTo>
                  <a:pt x="584" y="526"/>
                  <a:pt x="635" y="519"/>
                  <a:pt x="635" y="519"/>
                </a:cubicBezTo>
                <a:cubicBezTo>
                  <a:pt x="643" y="589"/>
                  <a:pt x="643" y="589"/>
                  <a:pt x="643" y="589"/>
                </a:cubicBezTo>
                <a:cubicBezTo>
                  <a:pt x="670" y="671"/>
                  <a:pt x="670" y="671"/>
                  <a:pt x="670" y="671"/>
                </a:cubicBezTo>
                <a:cubicBezTo>
                  <a:pt x="623" y="756"/>
                  <a:pt x="690" y="760"/>
                  <a:pt x="690" y="760"/>
                </a:cubicBezTo>
                <a:cubicBezTo>
                  <a:pt x="799" y="776"/>
                  <a:pt x="799" y="776"/>
                  <a:pt x="799" y="776"/>
                </a:cubicBezTo>
                <a:cubicBezTo>
                  <a:pt x="842" y="792"/>
                  <a:pt x="810" y="885"/>
                  <a:pt x="810" y="885"/>
                </a:cubicBezTo>
                <a:cubicBezTo>
                  <a:pt x="740" y="881"/>
                  <a:pt x="631" y="971"/>
                  <a:pt x="631" y="971"/>
                </a:cubicBezTo>
                <a:cubicBezTo>
                  <a:pt x="413" y="1041"/>
                  <a:pt x="413" y="1041"/>
                  <a:pt x="413" y="1041"/>
                </a:cubicBezTo>
                <a:cubicBezTo>
                  <a:pt x="202" y="1041"/>
                  <a:pt x="198" y="1361"/>
                  <a:pt x="198" y="1361"/>
                </a:cubicBezTo>
                <a:cubicBezTo>
                  <a:pt x="152" y="1435"/>
                  <a:pt x="155" y="1641"/>
                  <a:pt x="155" y="1641"/>
                </a:cubicBezTo>
                <a:cubicBezTo>
                  <a:pt x="70" y="1735"/>
                  <a:pt x="0" y="2109"/>
                  <a:pt x="0" y="2109"/>
                </a:cubicBezTo>
                <a:cubicBezTo>
                  <a:pt x="241" y="2109"/>
                  <a:pt x="241" y="2109"/>
                  <a:pt x="241" y="2109"/>
                </a:cubicBezTo>
                <a:cubicBezTo>
                  <a:pt x="319" y="1969"/>
                  <a:pt x="319" y="1969"/>
                  <a:pt x="319" y="1969"/>
                </a:cubicBezTo>
                <a:cubicBezTo>
                  <a:pt x="389" y="1883"/>
                  <a:pt x="405" y="1719"/>
                  <a:pt x="405" y="1719"/>
                </a:cubicBezTo>
                <a:cubicBezTo>
                  <a:pt x="407" y="1715"/>
                  <a:pt x="409" y="1710"/>
                  <a:pt x="410" y="1706"/>
                </a:cubicBezTo>
                <a:cubicBezTo>
                  <a:pt x="459" y="1573"/>
                  <a:pt x="444" y="1431"/>
                  <a:pt x="444" y="1431"/>
                </a:cubicBezTo>
                <a:cubicBezTo>
                  <a:pt x="479" y="1521"/>
                  <a:pt x="448" y="1614"/>
                  <a:pt x="448" y="1614"/>
                </a:cubicBezTo>
                <a:cubicBezTo>
                  <a:pt x="491" y="1934"/>
                  <a:pt x="491" y="1934"/>
                  <a:pt x="491" y="1934"/>
                </a:cubicBezTo>
                <a:cubicBezTo>
                  <a:pt x="444" y="1996"/>
                  <a:pt x="432" y="2117"/>
                  <a:pt x="432" y="2117"/>
                </a:cubicBezTo>
                <a:cubicBezTo>
                  <a:pt x="1430" y="2117"/>
                  <a:pt x="1430" y="2117"/>
                  <a:pt x="1430" y="2117"/>
                </a:cubicBezTo>
                <a:cubicBezTo>
                  <a:pt x="1422" y="2059"/>
                  <a:pt x="1383" y="1914"/>
                  <a:pt x="1383" y="1914"/>
                </a:cubicBezTo>
                <a:cubicBezTo>
                  <a:pt x="1399" y="1852"/>
                  <a:pt x="1422" y="1653"/>
                  <a:pt x="1422" y="1653"/>
                </a:cubicBezTo>
                <a:cubicBezTo>
                  <a:pt x="1403" y="1443"/>
                  <a:pt x="1403" y="1443"/>
                  <a:pt x="1403" y="1443"/>
                </a:cubicBezTo>
                <a:cubicBezTo>
                  <a:pt x="1454" y="1665"/>
                  <a:pt x="1454" y="1665"/>
                  <a:pt x="1454" y="1665"/>
                </a:cubicBezTo>
                <a:cubicBezTo>
                  <a:pt x="1469" y="1864"/>
                  <a:pt x="1469" y="1864"/>
                  <a:pt x="1469" y="1864"/>
                </a:cubicBezTo>
                <a:cubicBezTo>
                  <a:pt x="1606" y="2090"/>
                  <a:pt x="1606" y="2090"/>
                  <a:pt x="1606" y="2090"/>
                </a:cubicBezTo>
                <a:cubicBezTo>
                  <a:pt x="1627" y="2109"/>
                  <a:pt x="1627" y="2109"/>
                  <a:pt x="1627" y="2109"/>
                </a:cubicBezTo>
                <a:cubicBezTo>
                  <a:pt x="1851" y="2109"/>
                  <a:pt x="1851" y="2109"/>
                  <a:pt x="1851" y="2109"/>
                </a:cubicBezTo>
                <a:lnTo>
                  <a:pt x="1850" y="2044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023" name="Freeform 11"/>
          <p:cNvSpPr>
            <a:spLocks/>
          </p:cNvSpPr>
          <p:nvPr/>
        </p:nvSpPr>
        <p:spPr bwMode="gray">
          <a:xfrm>
            <a:off x="8211158" y="2537347"/>
            <a:ext cx="2034119" cy="3234769"/>
          </a:xfrm>
          <a:custGeom>
            <a:avLst/>
            <a:gdLst>
              <a:gd name="T0" fmla="*/ 180 w 963"/>
              <a:gd name="T1" fmla="*/ 199 h 1528"/>
              <a:gd name="T2" fmla="*/ 269 w 963"/>
              <a:gd name="T3" fmla="*/ 152 h 1528"/>
              <a:gd name="T4" fmla="*/ 406 w 963"/>
              <a:gd name="T5" fmla="*/ 183 h 1528"/>
              <a:gd name="T6" fmla="*/ 421 w 963"/>
              <a:gd name="T7" fmla="*/ 214 h 1528"/>
              <a:gd name="T8" fmla="*/ 336 w 963"/>
              <a:gd name="T9" fmla="*/ 113 h 1528"/>
              <a:gd name="T10" fmla="*/ 188 w 963"/>
              <a:gd name="T11" fmla="*/ 117 h 1528"/>
              <a:gd name="T12" fmla="*/ 238 w 963"/>
              <a:gd name="T13" fmla="*/ 16 h 1528"/>
              <a:gd name="T14" fmla="*/ 363 w 963"/>
              <a:gd name="T15" fmla="*/ 0 h 1528"/>
              <a:gd name="T16" fmla="*/ 398 w 963"/>
              <a:gd name="T17" fmla="*/ 20 h 1528"/>
              <a:gd name="T18" fmla="*/ 386 w 963"/>
              <a:gd name="T19" fmla="*/ 58 h 1528"/>
              <a:gd name="T20" fmla="*/ 457 w 963"/>
              <a:gd name="T21" fmla="*/ 129 h 1528"/>
              <a:gd name="T22" fmla="*/ 445 w 963"/>
              <a:gd name="T23" fmla="*/ 250 h 1528"/>
              <a:gd name="T24" fmla="*/ 538 w 963"/>
              <a:gd name="T25" fmla="*/ 569 h 1528"/>
              <a:gd name="T26" fmla="*/ 535 w 963"/>
              <a:gd name="T27" fmla="*/ 682 h 1528"/>
              <a:gd name="T28" fmla="*/ 628 w 963"/>
              <a:gd name="T29" fmla="*/ 678 h 1528"/>
              <a:gd name="T30" fmla="*/ 846 w 963"/>
              <a:gd name="T31" fmla="*/ 1435 h 1528"/>
              <a:gd name="T32" fmla="*/ 765 w 963"/>
              <a:gd name="T33" fmla="*/ 1450 h 1528"/>
              <a:gd name="T34" fmla="*/ 694 w 963"/>
              <a:gd name="T35" fmla="*/ 1380 h 1528"/>
              <a:gd name="T36" fmla="*/ 566 w 963"/>
              <a:gd name="T37" fmla="*/ 1353 h 1528"/>
              <a:gd name="T38" fmla="*/ 562 w 963"/>
              <a:gd name="T39" fmla="*/ 1053 h 1528"/>
              <a:gd name="T40" fmla="*/ 496 w 963"/>
              <a:gd name="T41" fmla="*/ 951 h 1528"/>
              <a:gd name="T42" fmla="*/ 414 w 963"/>
              <a:gd name="T43" fmla="*/ 1053 h 1528"/>
              <a:gd name="T44" fmla="*/ 414 w 963"/>
              <a:gd name="T45" fmla="*/ 1298 h 1528"/>
              <a:gd name="T46" fmla="*/ 336 w 963"/>
              <a:gd name="T47" fmla="*/ 1396 h 1528"/>
              <a:gd name="T48" fmla="*/ 188 w 963"/>
              <a:gd name="T49" fmla="*/ 1481 h 1528"/>
              <a:gd name="T50" fmla="*/ 67 w 963"/>
              <a:gd name="T51" fmla="*/ 1384 h 1528"/>
              <a:gd name="T52" fmla="*/ 336 w 963"/>
              <a:gd name="T53" fmla="*/ 651 h 1528"/>
              <a:gd name="T54" fmla="*/ 418 w 963"/>
              <a:gd name="T55" fmla="*/ 678 h 1528"/>
              <a:gd name="T56" fmla="*/ 457 w 963"/>
              <a:gd name="T57" fmla="*/ 550 h 1528"/>
              <a:gd name="T58" fmla="*/ 371 w 963"/>
              <a:gd name="T59" fmla="*/ 300 h 1528"/>
              <a:gd name="T60" fmla="*/ 269 w 963"/>
              <a:gd name="T61" fmla="*/ 288 h 1528"/>
              <a:gd name="T62" fmla="*/ 234 w 963"/>
              <a:gd name="T63" fmla="*/ 203 h 1528"/>
              <a:gd name="T64" fmla="*/ 180 w 963"/>
              <a:gd name="T65" fmla="*/ 199 h 15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963" h="1528">
                <a:moveTo>
                  <a:pt x="180" y="199"/>
                </a:moveTo>
                <a:cubicBezTo>
                  <a:pt x="180" y="199"/>
                  <a:pt x="215" y="187"/>
                  <a:pt x="269" y="152"/>
                </a:cubicBezTo>
                <a:cubicBezTo>
                  <a:pt x="324" y="117"/>
                  <a:pt x="406" y="183"/>
                  <a:pt x="406" y="183"/>
                </a:cubicBezTo>
                <a:cubicBezTo>
                  <a:pt x="421" y="214"/>
                  <a:pt x="421" y="214"/>
                  <a:pt x="421" y="214"/>
                </a:cubicBezTo>
                <a:cubicBezTo>
                  <a:pt x="421" y="214"/>
                  <a:pt x="441" y="168"/>
                  <a:pt x="336" y="113"/>
                </a:cubicBezTo>
                <a:cubicBezTo>
                  <a:pt x="188" y="117"/>
                  <a:pt x="188" y="117"/>
                  <a:pt x="188" y="117"/>
                </a:cubicBezTo>
                <a:cubicBezTo>
                  <a:pt x="188" y="117"/>
                  <a:pt x="184" y="31"/>
                  <a:pt x="238" y="16"/>
                </a:cubicBezTo>
                <a:cubicBezTo>
                  <a:pt x="293" y="0"/>
                  <a:pt x="363" y="0"/>
                  <a:pt x="363" y="0"/>
                </a:cubicBezTo>
                <a:cubicBezTo>
                  <a:pt x="398" y="20"/>
                  <a:pt x="398" y="20"/>
                  <a:pt x="398" y="20"/>
                </a:cubicBezTo>
                <a:cubicBezTo>
                  <a:pt x="398" y="20"/>
                  <a:pt x="414" y="51"/>
                  <a:pt x="386" y="58"/>
                </a:cubicBezTo>
                <a:cubicBezTo>
                  <a:pt x="457" y="129"/>
                  <a:pt x="457" y="129"/>
                  <a:pt x="457" y="129"/>
                </a:cubicBezTo>
                <a:cubicBezTo>
                  <a:pt x="445" y="250"/>
                  <a:pt x="445" y="250"/>
                  <a:pt x="445" y="250"/>
                </a:cubicBezTo>
                <a:cubicBezTo>
                  <a:pt x="538" y="569"/>
                  <a:pt x="538" y="569"/>
                  <a:pt x="538" y="569"/>
                </a:cubicBezTo>
                <a:cubicBezTo>
                  <a:pt x="535" y="682"/>
                  <a:pt x="535" y="682"/>
                  <a:pt x="535" y="682"/>
                </a:cubicBezTo>
                <a:cubicBezTo>
                  <a:pt x="535" y="682"/>
                  <a:pt x="574" y="624"/>
                  <a:pt x="628" y="678"/>
                </a:cubicBezTo>
                <a:cubicBezTo>
                  <a:pt x="628" y="678"/>
                  <a:pt x="963" y="784"/>
                  <a:pt x="846" y="1435"/>
                </a:cubicBezTo>
                <a:cubicBezTo>
                  <a:pt x="846" y="1435"/>
                  <a:pt x="831" y="1477"/>
                  <a:pt x="765" y="1450"/>
                </a:cubicBezTo>
                <a:cubicBezTo>
                  <a:pt x="694" y="1380"/>
                  <a:pt x="694" y="1380"/>
                  <a:pt x="694" y="1380"/>
                </a:cubicBezTo>
                <a:cubicBezTo>
                  <a:pt x="694" y="1380"/>
                  <a:pt x="597" y="1349"/>
                  <a:pt x="566" y="1353"/>
                </a:cubicBezTo>
                <a:cubicBezTo>
                  <a:pt x="566" y="1353"/>
                  <a:pt x="527" y="1294"/>
                  <a:pt x="562" y="1053"/>
                </a:cubicBezTo>
                <a:cubicBezTo>
                  <a:pt x="496" y="951"/>
                  <a:pt x="496" y="951"/>
                  <a:pt x="496" y="951"/>
                </a:cubicBezTo>
                <a:cubicBezTo>
                  <a:pt x="414" y="1053"/>
                  <a:pt x="414" y="1053"/>
                  <a:pt x="414" y="1053"/>
                </a:cubicBezTo>
                <a:cubicBezTo>
                  <a:pt x="414" y="1298"/>
                  <a:pt x="414" y="1298"/>
                  <a:pt x="414" y="1298"/>
                </a:cubicBezTo>
                <a:cubicBezTo>
                  <a:pt x="414" y="1298"/>
                  <a:pt x="429" y="1380"/>
                  <a:pt x="336" y="1396"/>
                </a:cubicBezTo>
                <a:cubicBezTo>
                  <a:pt x="336" y="1396"/>
                  <a:pt x="230" y="1396"/>
                  <a:pt x="188" y="1481"/>
                </a:cubicBezTo>
                <a:cubicBezTo>
                  <a:pt x="188" y="1481"/>
                  <a:pt x="75" y="1528"/>
                  <a:pt x="67" y="1384"/>
                </a:cubicBezTo>
                <a:cubicBezTo>
                  <a:pt x="67" y="1384"/>
                  <a:pt x="0" y="764"/>
                  <a:pt x="336" y="651"/>
                </a:cubicBezTo>
                <a:cubicBezTo>
                  <a:pt x="336" y="651"/>
                  <a:pt x="421" y="604"/>
                  <a:pt x="418" y="678"/>
                </a:cubicBezTo>
                <a:cubicBezTo>
                  <a:pt x="457" y="550"/>
                  <a:pt x="457" y="550"/>
                  <a:pt x="457" y="550"/>
                </a:cubicBezTo>
                <a:cubicBezTo>
                  <a:pt x="371" y="300"/>
                  <a:pt x="371" y="300"/>
                  <a:pt x="371" y="300"/>
                </a:cubicBezTo>
                <a:cubicBezTo>
                  <a:pt x="269" y="288"/>
                  <a:pt x="269" y="288"/>
                  <a:pt x="269" y="288"/>
                </a:cubicBezTo>
                <a:cubicBezTo>
                  <a:pt x="269" y="288"/>
                  <a:pt x="258" y="211"/>
                  <a:pt x="234" y="203"/>
                </a:cubicBezTo>
                <a:lnTo>
                  <a:pt x="180" y="199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024" name="Line 12"/>
          <p:cNvSpPr>
            <a:spLocks noChangeShapeType="1"/>
          </p:cNvSpPr>
          <p:nvPr/>
        </p:nvSpPr>
        <p:spPr bwMode="gray">
          <a:xfrm>
            <a:off x="11973953" y="354465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025" name="Line 13"/>
          <p:cNvSpPr>
            <a:spLocks noChangeShapeType="1"/>
          </p:cNvSpPr>
          <p:nvPr/>
        </p:nvSpPr>
        <p:spPr bwMode="gray">
          <a:xfrm>
            <a:off x="11973953" y="3544658"/>
            <a:ext cx="0" cy="0"/>
          </a:xfrm>
          <a:prstGeom prst="line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222" name="Rechteck 170221"/>
          <p:cNvSpPr/>
          <p:nvPr/>
        </p:nvSpPr>
        <p:spPr bwMode="gray">
          <a:xfrm>
            <a:off x="6099175" y="6206075"/>
            <a:ext cx="6099175" cy="14428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rtlCol="0" anchor="ctr"/>
          <a:lstStyle/>
          <a:p>
            <a:pPr algn="ctr"/>
            <a:endParaRPr lang="en-US" dirty="0" err="1" smtClean="0">
              <a:solidFill>
                <a:schemeClr val="tx1"/>
              </a:solidFill>
            </a:endParaRPr>
          </a:p>
        </p:txBody>
      </p:sp>
      <p:grpSp>
        <p:nvGrpSpPr>
          <p:cNvPr id="9" name="Gruppieren 8"/>
          <p:cNvGrpSpPr/>
          <p:nvPr/>
        </p:nvGrpSpPr>
        <p:grpSpPr>
          <a:xfrm>
            <a:off x="627063" y="1744496"/>
            <a:ext cx="11290027" cy="4341187"/>
            <a:chOff x="627063" y="1744496"/>
            <a:chExt cx="11290027" cy="4341187"/>
          </a:xfrm>
        </p:grpSpPr>
        <p:grpSp>
          <p:nvGrpSpPr>
            <p:cNvPr id="7" name="Gruppieren 6"/>
            <p:cNvGrpSpPr/>
            <p:nvPr/>
          </p:nvGrpSpPr>
          <p:grpSpPr>
            <a:xfrm>
              <a:off x="627063" y="2210649"/>
              <a:ext cx="5472112" cy="1121789"/>
              <a:chOff x="627063" y="2210649"/>
              <a:chExt cx="5472112" cy="1121789"/>
            </a:xfrm>
          </p:grpSpPr>
          <p:grpSp>
            <p:nvGrpSpPr>
              <p:cNvPr id="200" name="Gruppieren 199"/>
              <p:cNvGrpSpPr/>
              <p:nvPr/>
            </p:nvGrpSpPr>
            <p:grpSpPr bwMode="gray">
              <a:xfrm>
                <a:off x="2200842" y="2210649"/>
                <a:ext cx="1121801" cy="1121789"/>
                <a:chOff x="4723246" y="3575475"/>
                <a:chExt cx="1005664" cy="1005653"/>
              </a:xfrm>
            </p:grpSpPr>
            <p:sp>
              <p:nvSpPr>
                <p:cNvPr id="469" name="Oval 90"/>
                <p:cNvSpPr>
                  <a:spLocks noChangeArrowheads="1"/>
                </p:cNvSpPr>
                <p:nvPr/>
              </p:nvSpPr>
              <p:spPr bwMode="gray">
                <a:xfrm>
                  <a:off x="4723246" y="3575475"/>
                  <a:ext cx="1005664" cy="1005653"/>
                </a:xfrm>
                <a:prstGeom prst="ellipse">
                  <a:avLst/>
                </a:prstGeom>
                <a:noFill/>
                <a:ln w="38100">
                  <a:solidFill>
                    <a:srgbClr val="50BED7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4" name="Oval 90"/>
                <p:cNvSpPr>
                  <a:spLocks noChangeArrowheads="1"/>
                </p:cNvSpPr>
                <p:nvPr/>
              </p:nvSpPr>
              <p:spPr bwMode="gray">
                <a:xfrm>
                  <a:off x="5120829" y="4123837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6" name="Oval 90"/>
                <p:cNvSpPr>
                  <a:spLocks noChangeArrowheads="1"/>
                </p:cNvSpPr>
                <p:nvPr/>
              </p:nvSpPr>
              <p:spPr bwMode="gray">
                <a:xfrm>
                  <a:off x="4995882" y="3934335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7" name="Oval 90"/>
                <p:cNvSpPr>
                  <a:spLocks noChangeArrowheads="1"/>
                </p:cNvSpPr>
                <p:nvPr/>
              </p:nvSpPr>
              <p:spPr bwMode="gray">
                <a:xfrm>
                  <a:off x="4812288" y="3858549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8" name="Oval 90"/>
                <p:cNvSpPr>
                  <a:spLocks noChangeArrowheads="1"/>
                </p:cNvSpPr>
                <p:nvPr/>
              </p:nvSpPr>
              <p:spPr bwMode="gray">
                <a:xfrm>
                  <a:off x="5470928" y="4002701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9" name="Oval 90"/>
                <p:cNvSpPr>
                  <a:spLocks noChangeArrowheads="1"/>
                </p:cNvSpPr>
                <p:nvPr/>
              </p:nvSpPr>
              <p:spPr bwMode="gray">
                <a:xfrm>
                  <a:off x="5271348" y="3900225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1" name="Oval 90"/>
                <p:cNvSpPr>
                  <a:spLocks noChangeArrowheads="1"/>
                </p:cNvSpPr>
                <p:nvPr/>
              </p:nvSpPr>
              <p:spPr bwMode="gray">
                <a:xfrm>
                  <a:off x="5407678" y="4224616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3" name="Oval 90"/>
                <p:cNvSpPr>
                  <a:spLocks noChangeArrowheads="1"/>
                </p:cNvSpPr>
                <p:nvPr/>
              </p:nvSpPr>
              <p:spPr bwMode="gray">
                <a:xfrm>
                  <a:off x="5187436" y="4335868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6" name="Oval 90"/>
                <p:cNvSpPr>
                  <a:spLocks noChangeArrowheads="1"/>
                </p:cNvSpPr>
                <p:nvPr/>
              </p:nvSpPr>
              <p:spPr bwMode="gray">
                <a:xfrm>
                  <a:off x="4799189" y="4098173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8" name="Oval 90"/>
                <p:cNvSpPr>
                  <a:spLocks noChangeArrowheads="1"/>
                </p:cNvSpPr>
                <p:nvPr/>
              </p:nvSpPr>
              <p:spPr bwMode="gray">
                <a:xfrm>
                  <a:off x="4942962" y="4275627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89" name="Oval 90"/>
                <p:cNvSpPr>
                  <a:spLocks noChangeArrowheads="1"/>
                </p:cNvSpPr>
                <p:nvPr/>
              </p:nvSpPr>
              <p:spPr bwMode="gray">
                <a:xfrm>
                  <a:off x="5179526" y="3645139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1" name="Oval 90"/>
                <p:cNvSpPr>
                  <a:spLocks noChangeArrowheads="1"/>
                </p:cNvSpPr>
                <p:nvPr/>
              </p:nvSpPr>
              <p:spPr bwMode="gray">
                <a:xfrm>
                  <a:off x="5371080" y="3710263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2" name="Oval 90"/>
                <p:cNvSpPr>
                  <a:spLocks noChangeArrowheads="1"/>
                </p:cNvSpPr>
                <p:nvPr/>
              </p:nvSpPr>
              <p:spPr bwMode="gray">
                <a:xfrm>
                  <a:off x="4983051" y="3716589"/>
                  <a:ext cx="183644" cy="183636"/>
                </a:xfrm>
                <a:prstGeom prst="ellipse">
                  <a:avLst/>
                </a:prstGeom>
                <a:solidFill>
                  <a:srgbClr val="50BED7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501" name="TextBox 6"/>
              <p:cNvSpPr txBox="1"/>
              <p:nvPr/>
            </p:nvSpPr>
            <p:spPr bwMode="gray">
              <a:xfrm>
                <a:off x="627063" y="2210649"/>
                <a:ext cx="156617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lvl="1" eaLnBrk="0" hangingPunct="0">
                  <a:spcBef>
                    <a:spcPts val="660"/>
                  </a:spcBef>
                  <a:buClr>
                    <a:schemeClr val="accent1"/>
                  </a:buClr>
                </a:pPr>
                <a:r>
                  <a:rPr lang="en-US" sz="1600" b="1" dirty="0" smtClean="0">
                    <a:solidFill>
                      <a:srgbClr val="50BED7"/>
                    </a:solidFill>
                  </a:rPr>
                  <a:t>PM10+</a:t>
                </a:r>
                <a:r>
                  <a:rPr lang="en-US" sz="1600" b="1" dirty="0">
                    <a:solidFill>
                      <a:srgbClr val="50BED7"/>
                    </a:solidFill>
                  </a:rPr>
                  <a:t/>
                </a:r>
                <a:br>
                  <a:rPr lang="en-US" sz="1600" b="1" dirty="0">
                    <a:solidFill>
                      <a:srgbClr val="50BED7"/>
                    </a:solidFill>
                  </a:rPr>
                </a:br>
                <a:r>
                  <a:rPr lang="en-US" sz="1600" dirty="0" smtClean="0">
                    <a:solidFill>
                      <a:srgbClr val="50BED7"/>
                    </a:solidFill>
                  </a:rPr>
                  <a:t>10+ </a:t>
                </a:r>
                <a:r>
                  <a:rPr lang="el-GR" sz="1600" dirty="0" smtClean="0">
                    <a:solidFill>
                      <a:srgbClr val="50BED7"/>
                    </a:solidFill>
                  </a:rPr>
                  <a:t>μ</a:t>
                </a:r>
                <a:r>
                  <a:rPr lang="en-US" sz="1600" dirty="0" smtClean="0">
                    <a:solidFill>
                      <a:srgbClr val="50BED7"/>
                    </a:solidFill>
                  </a:rPr>
                  <a:t>m</a:t>
                </a:r>
                <a:endParaRPr lang="en-US" sz="1600" dirty="0">
                  <a:solidFill>
                    <a:srgbClr val="50BED7"/>
                  </a:solidFill>
                </a:endParaRPr>
              </a:p>
            </p:txBody>
          </p:sp>
          <p:sp>
            <p:nvSpPr>
              <p:cNvPr id="504" name="TextBox 6"/>
              <p:cNvSpPr txBox="1"/>
              <p:nvPr/>
            </p:nvSpPr>
            <p:spPr bwMode="gray">
              <a:xfrm>
                <a:off x="3514724" y="2225157"/>
                <a:ext cx="2584451" cy="246221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lvl="1" eaLnBrk="0" hangingPunct="0">
                  <a:spcBef>
                    <a:spcPts val="660"/>
                  </a:spcBef>
                  <a:buClr>
                    <a:schemeClr val="accent1"/>
                  </a:buClr>
                </a:pPr>
                <a:r>
                  <a:rPr lang="ru-RU" sz="1600" dirty="0" smtClean="0">
                    <a:solidFill>
                      <a:schemeClr val="tx1"/>
                    </a:solidFill>
                  </a:rPr>
                  <a:t>Блокируются носом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2" name="Gruppieren 1"/>
            <p:cNvGrpSpPr/>
            <p:nvPr/>
          </p:nvGrpSpPr>
          <p:grpSpPr>
            <a:xfrm>
              <a:off x="6417169" y="1744496"/>
              <a:ext cx="5499921" cy="4341187"/>
              <a:chOff x="6417169" y="1744496"/>
              <a:chExt cx="5499921" cy="4341187"/>
            </a:xfrm>
          </p:grpSpPr>
          <p:sp>
            <p:nvSpPr>
              <p:cNvPr id="170171" name="Oval 159"/>
              <p:cNvSpPr>
                <a:spLocks noChangeArrowheads="1"/>
              </p:cNvSpPr>
              <p:nvPr/>
            </p:nvSpPr>
            <p:spPr bwMode="gray">
              <a:xfrm>
                <a:off x="7837478" y="3354569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2" name="Oval 160"/>
              <p:cNvSpPr>
                <a:spLocks noChangeArrowheads="1"/>
              </p:cNvSpPr>
              <p:nvPr/>
            </p:nvSpPr>
            <p:spPr bwMode="gray">
              <a:xfrm>
                <a:off x="8224155" y="3032879"/>
                <a:ext cx="186840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3" name="Oval 161"/>
              <p:cNvSpPr>
                <a:spLocks noChangeArrowheads="1"/>
              </p:cNvSpPr>
              <p:nvPr/>
            </p:nvSpPr>
            <p:spPr bwMode="gray">
              <a:xfrm>
                <a:off x="7928461" y="2677071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4" name="Oval 162"/>
              <p:cNvSpPr>
                <a:spLocks noChangeArrowheads="1"/>
              </p:cNvSpPr>
              <p:nvPr/>
            </p:nvSpPr>
            <p:spPr bwMode="gray">
              <a:xfrm>
                <a:off x="8142921" y="2049938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5" name="Oval 163"/>
              <p:cNvSpPr>
                <a:spLocks noChangeArrowheads="1"/>
              </p:cNvSpPr>
              <p:nvPr/>
            </p:nvSpPr>
            <p:spPr bwMode="gray">
              <a:xfrm>
                <a:off x="8193286" y="2371628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6" name="Oval 164"/>
              <p:cNvSpPr>
                <a:spLocks noChangeArrowheads="1"/>
              </p:cNvSpPr>
              <p:nvPr/>
            </p:nvSpPr>
            <p:spPr bwMode="gray">
              <a:xfrm>
                <a:off x="10012945" y="3039378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7" name="Oval 165"/>
              <p:cNvSpPr>
                <a:spLocks noChangeArrowheads="1"/>
              </p:cNvSpPr>
              <p:nvPr/>
            </p:nvSpPr>
            <p:spPr bwMode="gray">
              <a:xfrm>
                <a:off x="8664448" y="2582839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8" name="Oval 166"/>
              <p:cNvSpPr>
                <a:spLocks noChangeArrowheads="1"/>
              </p:cNvSpPr>
              <p:nvPr/>
            </p:nvSpPr>
            <p:spPr bwMode="gray">
              <a:xfrm>
                <a:off x="10152669" y="2677071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9" name="Oval 167"/>
              <p:cNvSpPr>
                <a:spLocks noChangeArrowheads="1"/>
              </p:cNvSpPr>
              <p:nvPr/>
            </p:nvSpPr>
            <p:spPr bwMode="gray">
              <a:xfrm>
                <a:off x="10194911" y="3500792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0" name="Oval 168"/>
              <p:cNvSpPr>
                <a:spLocks noChangeArrowheads="1"/>
              </p:cNvSpPr>
              <p:nvPr/>
            </p:nvSpPr>
            <p:spPr bwMode="gray">
              <a:xfrm>
                <a:off x="8250151" y="3346446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1" name="Oval 169"/>
              <p:cNvSpPr>
                <a:spLocks noChangeArrowheads="1"/>
              </p:cNvSpPr>
              <p:nvPr/>
            </p:nvSpPr>
            <p:spPr bwMode="gray">
              <a:xfrm>
                <a:off x="9796861" y="3245714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2" name="Oval 170"/>
              <p:cNvSpPr>
                <a:spLocks noChangeArrowheads="1"/>
              </p:cNvSpPr>
              <p:nvPr/>
            </p:nvSpPr>
            <p:spPr bwMode="gray">
              <a:xfrm>
                <a:off x="8854537" y="2534098"/>
                <a:ext cx="123477" cy="125102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3" name="Oval 171"/>
              <p:cNvSpPr>
                <a:spLocks noChangeArrowheads="1"/>
              </p:cNvSpPr>
              <p:nvPr/>
            </p:nvSpPr>
            <p:spPr bwMode="gray">
              <a:xfrm>
                <a:off x="8695317" y="3370816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4" name="Oval 172"/>
              <p:cNvSpPr>
                <a:spLocks noChangeArrowheads="1"/>
              </p:cNvSpPr>
              <p:nvPr/>
            </p:nvSpPr>
            <p:spPr bwMode="gray">
              <a:xfrm>
                <a:off x="7829354" y="2288769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1" name="Oval 179"/>
              <p:cNvSpPr>
                <a:spLocks noChangeArrowheads="1"/>
              </p:cNvSpPr>
              <p:nvPr/>
            </p:nvSpPr>
            <p:spPr bwMode="gray">
              <a:xfrm>
                <a:off x="10076309" y="2272522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2" name="Oval 180"/>
              <p:cNvSpPr>
                <a:spLocks noChangeArrowheads="1"/>
              </p:cNvSpPr>
              <p:nvPr/>
            </p:nvSpPr>
            <p:spPr bwMode="gray">
              <a:xfrm>
                <a:off x="7572653" y="3508915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3" name="Oval 181"/>
              <p:cNvSpPr>
                <a:spLocks noChangeArrowheads="1"/>
              </p:cNvSpPr>
              <p:nvPr/>
            </p:nvSpPr>
            <p:spPr bwMode="gray">
              <a:xfrm>
                <a:off x="10760306" y="2966247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7" name="Oval 185"/>
              <p:cNvSpPr>
                <a:spLocks noChangeArrowheads="1"/>
              </p:cNvSpPr>
              <p:nvPr/>
            </p:nvSpPr>
            <p:spPr bwMode="gray">
              <a:xfrm>
                <a:off x="6919525" y="4295268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8" name="Oval 186"/>
              <p:cNvSpPr>
                <a:spLocks noChangeArrowheads="1"/>
              </p:cNvSpPr>
              <p:nvPr/>
            </p:nvSpPr>
            <p:spPr bwMode="gray">
              <a:xfrm>
                <a:off x="7558030" y="2145795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9" name="Oval 187"/>
              <p:cNvSpPr>
                <a:spLocks noChangeArrowheads="1"/>
              </p:cNvSpPr>
              <p:nvPr/>
            </p:nvSpPr>
            <p:spPr bwMode="gray">
              <a:xfrm>
                <a:off x="6493855" y="4664073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0" name="Oval 188"/>
              <p:cNvSpPr>
                <a:spLocks noChangeArrowheads="1"/>
              </p:cNvSpPr>
              <p:nvPr/>
            </p:nvSpPr>
            <p:spPr bwMode="gray">
              <a:xfrm>
                <a:off x="7982076" y="1744496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1" name="Oval 189"/>
              <p:cNvSpPr>
                <a:spLocks noChangeArrowheads="1"/>
              </p:cNvSpPr>
              <p:nvPr/>
            </p:nvSpPr>
            <p:spPr bwMode="gray">
              <a:xfrm>
                <a:off x="10349257" y="2337510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2" name="Oval 200"/>
              <p:cNvSpPr>
                <a:spLocks noChangeArrowheads="1"/>
              </p:cNvSpPr>
              <p:nvPr/>
            </p:nvSpPr>
            <p:spPr bwMode="gray">
              <a:xfrm>
                <a:off x="11034879" y="4305016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3" name="Oval 201"/>
              <p:cNvSpPr>
                <a:spLocks noChangeArrowheads="1"/>
              </p:cNvSpPr>
              <p:nvPr/>
            </p:nvSpPr>
            <p:spPr bwMode="gray">
              <a:xfrm>
                <a:off x="11393937" y="3552782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4" name="Oval 202"/>
              <p:cNvSpPr>
                <a:spLocks noChangeArrowheads="1"/>
              </p:cNvSpPr>
              <p:nvPr/>
            </p:nvSpPr>
            <p:spPr bwMode="gray">
              <a:xfrm>
                <a:off x="11231467" y="4868785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86" name="Oval 211"/>
              <p:cNvSpPr>
                <a:spLocks noChangeArrowheads="1"/>
              </p:cNvSpPr>
              <p:nvPr/>
            </p:nvSpPr>
            <p:spPr bwMode="gray">
              <a:xfrm>
                <a:off x="10760306" y="3824106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87" name="Oval 212"/>
              <p:cNvSpPr>
                <a:spLocks noChangeArrowheads="1"/>
              </p:cNvSpPr>
              <p:nvPr/>
            </p:nvSpPr>
            <p:spPr bwMode="gray">
              <a:xfrm>
                <a:off x="11676634" y="4525975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5" name="Oval 219"/>
              <p:cNvSpPr>
                <a:spLocks noChangeArrowheads="1"/>
              </p:cNvSpPr>
              <p:nvPr/>
            </p:nvSpPr>
            <p:spPr bwMode="gray">
              <a:xfrm>
                <a:off x="11733499" y="5109241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6" name="Oval 220"/>
              <p:cNvSpPr>
                <a:spLocks noChangeArrowheads="1"/>
              </p:cNvSpPr>
              <p:nvPr/>
            </p:nvSpPr>
            <p:spPr bwMode="gray">
              <a:xfrm>
                <a:off x="11192475" y="5287957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8" name="Oval 222"/>
              <p:cNvSpPr>
                <a:spLocks noChangeArrowheads="1"/>
              </p:cNvSpPr>
              <p:nvPr/>
            </p:nvSpPr>
            <p:spPr bwMode="gray">
              <a:xfrm>
                <a:off x="11401559" y="5849030"/>
                <a:ext cx="183591" cy="183591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9" name="Oval 223"/>
              <p:cNvSpPr>
                <a:spLocks noChangeArrowheads="1"/>
              </p:cNvSpPr>
              <p:nvPr/>
            </p:nvSpPr>
            <p:spPr bwMode="gray">
              <a:xfrm>
                <a:off x="11021882" y="3507291"/>
                <a:ext cx="186840" cy="183591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6" name="Oval 230"/>
              <p:cNvSpPr>
                <a:spLocks noChangeArrowheads="1"/>
              </p:cNvSpPr>
              <p:nvPr/>
            </p:nvSpPr>
            <p:spPr bwMode="gray">
              <a:xfrm>
                <a:off x="11049502" y="2491856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7" name="Oval 231"/>
              <p:cNvSpPr>
                <a:spLocks noChangeArrowheads="1"/>
              </p:cNvSpPr>
              <p:nvPr/>
            </p:nvSpPr>
            <p:spPr bwMode="gray">
              <a:xfrm>
                <a:off x="11127487" y="1744496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8" name="Oval 232"/>
              <p:cNvSpPr>
                <a:spLocks noChangeArrowheads="1"/>
              </p:cNvSpPr>
              <p:nvPr/>
            </p:nvSpPr>
            <p:spPr bwMode="gray">
              <a:xfrm>
                <a:off x="11431305" y="3278208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2" name="Oval 236"/>
              <p:cNvSpPr>
                <a:spLocks noChangeArrowheads="1"/>
              </p:cNvSpPr>
              <p:nvPr/>
            </p:nvSpPr>
            <p:spPr bwMode="gray">
              <a:xfrm>
                <a:off x="11548283" y="3013383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3" name="Oval 237"/>
              <p:cNvSpPr>
                <a:spLocks noChangeArrowheads="1"/>
              </p:cNvSpPr>
              <p:nvPr/>
            </p:nvSpPr>
            <p:spPr bwMode="gray">
              <a:xfrm>
                <a:off x="10867536" y="2160418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8" name="Oval 246"/>
              <p:cNvSpPr>
                <a:spLocks noChangeArrowheads="1"/>
              </p:cNvSpPr>
              <p:nvPr/>
            </p:nvSpPr>
            <p:spPr bwMode="gray">
              <a:xfrm>
                <a:off x="6622206" y="5898843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6" name="Oval 247"/>
              <p:cNvSpPr>
                <a:spLocks noChangeArrowheads="1"/>
              </p:cNvSpPr>
              <p:nvPr/>
            </p:nvSpPr>
            <p:spPr bwMode="gray">
              <a:xfrm>
                <a:off x="6810671" y="5447177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6" name="Oval 263"/>
              <p:cNvSpPr>
                <a:spLocks noChangeArrowheads="1"/>
              </p:cNvSpPr>
              <p:nvPr/>
            </p:nvSpPr>
            <p:spPr bwMode="gray">
              <a:xfrm>
                <a:off x="6783051" y="3599898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7" name="Oval 264"/>
              <p:cNvSpPr>
                <a:spLocks noChangeArrowheads="1"/>
              </p:cNvSpPr>
              <p:nvPr/>
            </p:nvSpPr>
            <p:spPr bwMode="gray">
              <a:xfrm>
                <a:off x="7294830" y="1772116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8" name="Oval 265"/>
              <p:cNvSpPr>
                <a:spLocks noChangeArrowheads="1"/>
              </p:cNvSpPr>
              <p:nvPr/>
            </p:nvSpPr>
            <p:spPr bwMode="gray">
              <a:xfrm>
                <a:off x="7065748" y="2160418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1" name="Oval 268"/>
              <p:cNvSpPr>
                <a:spLocks noChangeArrowheads="1"/>
              </p:cNvSpPr>
              <p:nvPr/>
            </p:nvSpPr>
            <p:spPr bwMode="gray">
              <a:xfrm>
                <a:off x="6529598" y="2092181"/>
                <a:ext cx="183591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2" name="Oval 269"/>
              <p:cNvSpPr>
                <a:spLocks noChangeArrowheads="1"/>
              </p:cNvSpPr>
              <p:nvPr/>
            </p:nvSpPr>
            <p:spPr bwMode="gray">
              <a:xfrm>
                <a:off x="6706690" y="1744496"/>
                <a:ext cx="185215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5" name="Oval 272"/>
              <p:cNvSpPr>
                <a:spLocks noChangeArrowheads="1"/>
              </p:cNvSpPr>
              <p:nvPr/>
            </p:nvSpPr>
            <p:spPr bwMode="gray">
              <a:xfrm>
                <a:off x="7341946" y="3887469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6" name="Oval 273"/>
              <p:cNvSpPr>
                <a:spLocks noChangeArrowheads="1"/>
              </p:cNvSpPr>
              <p:nvPr/>
            </p:nvSpPr>
            <p:spPr bwMode="gray">
              <a:xfrm>
                <a:off x="7434554" y="3239216"/>
                <a:ext cx="186840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20" name="Oval 277"/>
              <p:cNvSpPr>
                <a:spLocks noChangeArrowheads="1"/>
              </p:cNvSpPr>
              <p:nvPr/>
            </p:nvSpPr>
            <p:spPr bwMode="gray">
              <a:xfrm>
                <a:off x="6586463" y="5109241"/>
                <a:ext cx="185215" cy="186840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21" name="Oval 278"/>
              <p:cNvSpPr>
                <a:spLocks noChangeArrowheads="1"/>
              </p:cNvSpPr>
              <p:nvPr/>
            </p:nvSpPr>
            <p:spPr bwMode="gray">
              <a:xfrm>
                <a:off x="7205472" y="4491856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4" name="Oval 185"/>
              <p:cNvSpPr>
                <a:spLocks noChangeArrowheads="1"/>
              </p:cNvSpPr>
              <p:nvPr/>
            </p:nvSpPr>
            <p:spPr bwMode="gray">
              <a:xfrm>
                <a:off x="6417169" y="3846852"/>
                <a:ext cx="183591" cy="185215"/>
              </a:xfrm>
              <a:prstGeom prst="ellipse">
                <a:avLst/>
              </a:prstGeom>
              <a:solidFill>
                <a:srgbClr val="50BED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grpSp>
        <p:nvGrpSpPr>
          <p:cNvPr id="11" name="Gruppieren 10"/>
          <p:cNvGrpSpPr/>
          <p:nvPr/>
        </p:nvGrpSpPr>
        <p:grpSpPr>
          <a:xfrm>
            <a:off x="627062" y="1812733"/>
            <a:ext cx="11259158" cy="4478309"/>
            <a:chOff x="627062" y="1812733"/>
            <a:chExt cx="11259158" cy="4478309"/>
          </a:xfrm>
        </p:grpSpPr>
        <p:grpSp>
          <p:nvGrpSpPr>
            <p:cNvPr id="196" name="Gruppieren 195"/>
            <p:cNvGrpSpPr/>
            <p:nvPr/>
          </p:nvGrpSpPr>
          <p:grpSpPr bwMode="gray">
            <a:xfrm>
              <a:off x="2200842" y="5062124"/>
              <a:ext cx="1121801" cy="1121789"/>
              <a:chOff x="970077" y="3387979"/>
              <a:chExt cx="1005664" cy="1005653"/>
            </a:xfrm>
          </p:grpSpPr>
          <p:sp>
            <p:nvSpPr>
              <p:cNvPr id="405" name="Oval 90"/>
              <p:cNvSpPr>
                <a:spLocks noChangeArrowheads="1"/>
              </p:cNvSpPr>
              <p:nvPr/>
            </p:nvSpPr>
            <p:spPr bwMode="gray">
              <a:xfrm>
                <a:off x="970077" y="3387979"/>
                <a:ext cx="1005664" cy="1005653"/>
              </a:xfrm>
              <a:prstGeom prst="ellipse">
                <a:avLst/>
              </a:prstGeom>
              <a:noFill/>
              <a:ln w="38100">
                <a:solidFill>
                  <a:srgbClr val="005F87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3" name="Oval 90"/>
              <p:cNvSpPr>
                <a:spLocks noChangeArrowheads="1"/>
              </p:cNvSpPr>
              <p:nvPr/>
            </p:nvSpPr>
            <p:spPr bwMode="gray">
              <a:xfrm>
                <a:off x="1337522" y="3605428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4" name="Oval 90"/>
              <p:cNvSpPr>
                <a:spLocks noChangeArrowheads="1"/>
              </p:cNvSpPr>
              <p:nvPr/>
            </p:nvSpPr>
            <p:spPr bwMode="gray">
              <a:xfrm>
                <a:off x="1523619" y="3710757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5" name="Oval 90"/>
              <p:cNvSpPr>
                <a:spLocks noChangeArrowheads="1"/>
              </p:cNvSpPr>
              <p:nvPr/>
            </p:nvSpPr>
            <p:spPr bwMode="gray">
              <a:xfrm>
                <a:off x="1523619" y="3561906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6" name="Oval 90"/>
              <p:cNvSpPr>
                <a:spLocks noChangeArrowheads="1"/>
              </p:cNvSpPr>
              <p:nvPr/>
            </p:nvSpPr>
            <p:spPr bwMode="gray">
              <a:xfrm>
                <a:off x="1337522" y="4022081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7" name="Oval 90"/>
              <p:cNvSpPr>
                <a:spLocks noChangeArrowheads="1"/>
              </p:cNvSpPr>
              <p:nvPr/>
            </p:nvSpPr>
            <p:spPr bwMode="gray">
              <a:xfrm>
                <a:off x="1557451" y="3978559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8" name="Oval 90"/>
              <p:cNvSpPr>
                <a:spLocks noChangeArrowheads="1"/>
              </p:cNvSpPr>
              <p:nvPr/>
            </p:nvSpPr>
            <p:spPr bwMode="gray">
              <a:xfrm>
                <a:off x="1193111" y="3968160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9" name="Oval 90"/>
              <p:cNvSpPr>
                <a:spLocks noChangeArrowheads="1"/>
              </p:cNvSpPr>
              <p:nvPr/>
            </p:nvSpPr>
            <p:spPr bwMode="gray">
              <a:xfrm>
                <a:off x="1258755" y="3835268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0" name="Oval 90"/>
              <p:cNvSpPr>
                <a:spLocks noChangeArrowheads="1"/>
              </p:cNvSpPr>
              <p:nvPr/>
            </p:nvSpPr>
            <p:spPr bwMode="gray">
              <a:xfrm>
                <a:off x="1058615" y="3766503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1" name="Oval 90"/>
              <p:cNvSpPr>
                <a:spLocks noChangeArrowheads="1"/>
              </p:cNvSpPr>
              <p:nvPr/>
            </p:nvSpPr>
            <p:spPr bwMode="gray">
              <a:xfrm>
                <a:off x="1778695" y="3710757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2" name="Oval 90"/>
              <p:cNvSpPr>
                <a:spLocks noChangeArrowheads="1"/>
              </p:cNvSpPr>
              <p:nvPr/>
            </p:nvSpPr>
            <p:spPr bwMode="gray">
              <a:xfrm>
                <a:off x="1592598" y="3824183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3" name="Oval 90"/>
              <p:cNvSpPr>
                <a:spLocks noChangeArrowheads="1"/>
              </p:cNvSpPr>
              <p:nvPr/>
            </p:nvSpPr>
            <p:spPr bwMode="gray">
              <a:xfrm>
                <a:off x="1384652" y="3709039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4" name="Oval 90"/>
              <p:cNvSpPr>
                <a:spLocks noChangeArrowheads="1"/>
              </p:cNvSpPr>
              <p:nvPr/>
            </p:nvSpPr>
            <p:spPr bwMode="gray">
              <a:xfrm>
                <a:off x="1732593" y="4110989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5" name="Oval 90"/>
              <p:cNvSpPr>
                <a:spLocks noChangeArrowheads="1"/>
              </p:cNvSpPr>
              <p:nvPr/>
            </p:nvSpPr>
            <p:spPr bwMode="gray">
              <a:xfrm>
                <a:off x="1569339" y="4235018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6" name="Oval 90"/>
              <p:cNvSpPr>
                <a:spLocks noChangeArrowheads="1"/>
              </p:cNvSpPr>
              <p:nvPr/>
            </p:nvSpPr>
            <p:spPr bwMode="gray">
              <a:xfrm>
                <a:off x="1481806" y="4097118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7" name="Oval 90"/>
              <p:cNvSpPr>
                <a:spLocks noChangeArrowheads="1"/>
              </p:cNvSpPr>
              <p:nvPr/>
            </p:nvSpPr>
            <p:spPr bwMode="gray">
              <a:xfrm>
                <a:off x="1732975" y="3824183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8" name="Oval 90"/>
              <p:cNvSpPr>
                <a:spLocks noChangeArrowheads="1"/>
              </p:cNvSpPr>
              <p:nvPr/>
            </p:nvSpPr>
            <p:spPr bwMode="gray">
              <a:xfrm>
                <a:off x="1778695" y="3978559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9" name="Oval 90"/>
              <p:cNvSpPr>
                <a:spLocks noChangeArrowheads="1"/>
              </p:cNvSpPr>
              <p:nvPr/>
            </p:nvSpPr>
            <p:spPr bwMode="gray">
              <a:xfrm>
                <a:off x="1058615" y="3991020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0" name="Oval 90"/>
              <p:cNvSpPr>
                <a:spLocks noChangeArrowheads="1"/>
              </p:cNvSpPr>
              <p:nvPr/>
            </p:nvSpPr>
            <p:spPr bwMode="gray">
              <a:xfrm>
                <a:off x="1212347" y="4166911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1" name="Oval 90"/>
              <p:cNvSpPr>
                <a:spLocks noChangeArrowheads="1"/>
              </p:cNvSpPr>
              <p:nvPr/>
            </p:nvSpPr>
            <p:spPr bwMode="gray">
              <a:xfrm>
                <a:off x="1337522" y="4204688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2" name="Oval 90"/>
              <p:cNvSpPr>
                <a:spLocks noChangeArrowheads="1"/>
              </p:cNvSpPr>
              <p:nvPr/>
            </p:nvSpPr>
            <p:spPr bwMode="gray">
              <a:xfrm>
                <a:off x="1421703" y="3473720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3" name="Oval 90"/>
              <p:cNvSpPr>
                <a:spLocks noChangeArrowheads="1"/>
              </p:cNvSpPr>
              <p:nvPr/>
            </p:nvSpPr>
            <p:spPr bwMode="gray">
              <a:xfrm>
                <a:off x="1202255" y="3683615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4" name="Oval 90"/>
              <p:cNvSpPr>
                <a:spLocks noChangeArrowheads="1"/>
              </p:cNvSpPr>
              <p:nvPr/>
            </p:nvSpPr>
            <p:spPr bwMode="gray">
              <a:xfrm>
                <a:off x="1686873" y="3591725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5" name="Oval 90"/>
              <p:cNvSpPr>
                <a:spLocks noChangeArrowheads="1"/>
              </p:cNvSpPr>
              <p:nvPr/>
            </p:nvSpPr>
            <p:spPr bwMode="gray">
              <a:xfrm>
                <a:off x="1235207" y="3529093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6" name="Oval 90"/>
              <p:cNvSpPr>
                <a:spLocks noChangeArrowheads="1"/>
              </p:cNvSpPr>
              <p:nvPr/>
            </p:nvSpPr>
            <p:spPr bwMode="gray">
              <a:xfrm>
                <a:off x="1450049" y="3854689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7" name="Oval 90"/>
              <p:cNvSpPr>
                <a:spLocks noChangeArrowheads="1"/>
              </p:cNvSpPr>
              <p:nvPr/>
            </p:nvSpPr>
            <p:spPr bwMode="gray">
              <a:xfrm>
                <a:off x="1886707" y="3824183"/>
                <a:ext cx="45720" cy="45719"/>
              </a:xfrm>
              <a:prstGeom prst="ellipse">
                <a:avLst/>
              </a:prstGeom>
              <a:solidFill>
                <a:srgbClr val="00646E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499" name="TextBox 6"/>
            <p:cNvSpPr txBox="1"/>
            <p:nvPr/>
          </p:nvSpPr>
          <p:spPr bwMode="gray">
            <a:xfrm>
              <a:off x="627062" y="5059936"/>
              <a:ext cx="1691692" cy="49244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en-US" sz="1600" b="1" dirty="0" smtClean="0">
                  <a:solidFill>
                    <a:schemeClr val="accent5"/>
                  </a:solidFill>
                </a:rPr>
                <a:t>PM2.5</a:t>
              </a:r>
              <a:r>
                <a:rPr lang="en-US" sz="1600" b="1" dirty="0">
                  <a:solidFill>
                    <a:schemeClr val="accent5"/>
                  </a:solidFill>
                </a:rPr>
                <a:t/>
              </a:r>
              <a:br>
                <a:rPr lang="en-US" sz="1600" b="1" dirty="0">
                  <a:solidFill>
                    <a:schemeClr val="accent5"/>
                  </a:solidFill>
                </a:rPr>
              </a:br>
              <a:r>
                <a:rPr lang="en-US" sz="1600" dirty="0" smtClean="0">
                  <a:solidFill>
                    <a:schemeClr val="accent5"/>
                  </a:solidFill>
                </a:rPr>
                <a:t>2.5 </a:t>
              </a:r>
              <a:r>
                <a:rPr lang="el-GR" sz="1600" dirty="0" smtClean="0">
                  <a:solidFill>
                    <a:schemeClr val="accent5"/>
                  </a:solidFill>
                </a:rPr>
                <a:t>μ</a:t>
              </a:r>
              <a:r>
                <a:rPr lang="en-US" sz="1600" dirty="0" smtClean="0">
                  <a:solidFill>
                    <a:schemeClr val="accent5"/>
                  </a:solidFill>
                </a:rPr>
                <a:t>m</a:t>
              </a:r>
              <a:endParaRPr lang="en-US" sz="1600" dirty="0">
                <a:solidFill>
                  <a:schemeClr val="accent5"/>
                </a:solidFill>
              </a:endParaRPr>
            </a:p>
          </p:txBody>
        </p:sp>
        <p:sp>
          <p:nvSpPr>
            <p:cNvPr id="502" name="TextBox 6"/>
            <p:cNvSpPr txBox="1"/>
            <p:nvPr/>
          </p:nvSpPr>
          <p:spPr bwMode="gray">
            <a:xfrm>
              <a:off x="3514724" y="5059936"/>
              <a:ext cx="2584451" cy="123110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lvl="1" eaLnBrk="0" hangingPunct="0">
                <a:spcBef>
                  <a:spcPts val="660"/>
                </a:spcBef>
                <a:buClr>
                  <a:schemeClr val="accent1"/>
                </a:buClr>
              </a:pPr>
              <a:r>
                <a:rPr lang="ru-RU" sz="1600" dirty="0" smtClean="0">
                  <a:solidFill>
                    <a:schemeClr val="tx1"/>
                  </a:solidFill>
                </a:rPr>
                <a:t>Проникают глубоко в легкие и вызывают заболевания легких и сердечно-сосудистые заболевания</a:t>
              </a:r>
              <a:endParaRPr lang="en-US" sz="1600" dirty="0">
                <a:solidFill>
                  <a:schemeClr val="tx1"/>
                </a:solidFill>
              </a:endParaRPr>
            </a:p>
          </p:txBody>
        </p:sp>
        <p:grpSp>
          <p:nvGrpSpPr>
            <p:cNvPr id="5" name="Gruppieren 4"/>
            <p:cNvGrpSpPr/>
            <p:nvPr/>
          </p:nvGrpSpPr>
          <p:grpSpPr>
            <a:xfrm>
              <a:off x="6532848" y="1812733"/>
              <a:ext cx="5353372" cy="4038994"/>
              <a:chOff x="6532848" y="1812733"/>
              <a:chExt cx="5353372" cy="4038994"/>
            </a:xfrm>
          </p:grpSpPr>
          <p:sp>
            <p:nvSpPr>
              <p:cNvPr id="170026" name="Freeform 14"/>
              <p:cNvSpPr>
                <a:spLocks/>
              </p:cNvSpPr>
              <p:nvPr/>
            </p:nvSpPr>
            <p:spPr bwMode="gray">
              <a:xfrm>
                <a:off x="8898404" y="4074309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27" name="Freeform 15"/>
              <p:cNvSpPr>
                <a:spLocks/>
              </p:cNvSpPr>
              <p:nvPr/>
            </p:nvSpPr>
            <p:spPr bwMode="gray">
              <a:xfrm>
                <a:off x="9176227" y="3949208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28" name="Freeform 16"/>
              <p:cNvSpPr>
                <a:spLocks/>
              </p:cNvSpPr>
              <p:nvPr/>
            </p:nvSpPr>
            <p:spPr bwMode="gray">
              <a:xfrm>
                <a:off x="8063311" y="3011758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29" name="Freeform 17"/>
              <p:cNvSpPr>
                <a:spLocks/>
              </p:cNvSpPr>
              <p:nvPr/>
            </p:nvSpPr>
            <p:spPr bwMode="gray">
              <a:xfrm>
                <a:off x="9208721" y="3741247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0" name="Freeform 18"/>
              <p:cNvSpPr>
                <a:spLocks/>
              </p:cNvSpPr>
              <p:nvPr/>
            </p:nvSpPr>
            <p:spPr bwMode="gray">
              <a:xfrm>
                <a:off x="9983701" y="3499167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1" name="Freeform 19"/>
              <p:cNvSpPr>
                <a:spLocks/>
              </p:cNvSpPr>
              <p:nvPr/>
            </p:nvSpPr>
            <p:spPr bwMode="gray">
              <a:xfrm>
                <a:off x="8090930" y="3245714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2" name="Freeform 20"/>
              <p:cNvSpPr>
                <a:spLocks/>
              </p:cNvSpPr>
              <p:nvPr/>
            </p:nvSpPr>
            <p:spPr bwMode="gray">
              <a:xfrm>
                <a:off x="9067373" y="4478858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3" name="Freeform 21"/>
              <p:cNvSpPr>
                <a:spLocks/>
              </p:cNvSpPr>
              <p:nvPr/>
            </p:nvSpPr>
            <p:spPr bwMode="gray">
              <a:xfrm>
                <a:off x="10360630" y="256659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4" name="Freeform 22"/>
              <p:cNvSpPr>
                <a:spLocks/>
              </p:cNvSpPr>
              <p:nvPr/>
            </p:nvSpPr>
            <p:spPr bwMode="gray">
              <a:xfrm>
                <a:off x="7811483" y="2188038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1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5" name="Freeform 23"/>
              <p:cNvSpPr>
                <a:spLocks/>
              </p:cNvSpPr>
              <p:nvPr/>
            </p:nvSpPr>
            <p:spPr bwMode="gray">
              <a:xfrm>
                <a:off x="7892718" y="2610458"/>
                <a:ext cx="32494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6" name="Freeform 24"/>
              <p:cNvSpPr>
                <a:spLocks/>
              </p:cNvSpPr>
              <p:nvPr/>
            </p:nvSpPr>
            <p:spPr bwMode="gray">
              <a:xfrm>
                <a:off x="10532848" y="2204284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7" name="Freeform 25"/>
              <p:cNvSpPr>
                <a:spLocks/>
              </p:cNvSpPr>
              <p:nvPr/>
            </p:nvSpPr>
            <p:spPr bwMode="gray">
              <a:xfrm>
                <a:off x="7717250" y="2503228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8" name="Freeform 26"/>
              <p:cNvSpPr>
                <a:spLocks/>
              </p:cNvSpPr>
              <p:nvPr/>
            </p:nvSpPr>
            <p:spPr bwMode="gray">
              <a:xfrm>
                <a:off x="10103928" y="2582839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39" name="Freeform 27"/>
              <p:cNvSpPr>
                <a:spLocks/>
              </p:cNvSpPr>
              <p:nvPr/>
            </p:nvSpPr>
            <p:spPr bwMode="gray">
              <a:xfrm>
                <a:off x="8425618" y="2358631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0" name="Freeform 28"/>
              <p:cNvSpPr>
                <a:spLocks/>
              </p:cNvSpPr>
              <p:nvPr/>
            </p:nvSpPr>
            <p:spPr bwMode="gray">
              <a:xfrm>
                <a:off x="9933335" y="3062124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1" name="Freeform 29"/>
              <p:cNvSpPr>
                <a:spLocks/>
              </p:cNvSpPr>
              <p:nvPr/>
            </p:nvSpPr>
            <p:spPr bwMode="gray">
              <a:xfrm>
                <a:off x="8425618" y="2880158"/>
                <a:ext cx="32494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2" name="Freeform 30"/>
              <p:cNvSpPr>
                <a:spLocks/>
              </p:cNvSpPr>
              <p:nvPr/>
            </p:nvSpPr>
            <p:spPr bwMode="gray">
              <a:xfrm>
                <a:off x="8971515" y="296464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3" name="Freeform 31"/>
              <p:cNvSpPr>
                <a:spLocks/>
              </p:cNvSpPr>
              <p:nvPr/>
            </p:nvSpPr>
            <p:spPr bwMode="gray">
              <a:xfrm>
                <a:off x="9736747" y="4807047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4" name="Freeform 32"/>
              <p:cNvSpPr>
                <a:spLocks/>
              </p:cNvSpPr>
              <p:nvPr/>
            </p:nvSpPr>
            <p:spPr bwMode="gray">
              <a:xfrm>
                <a:off x="9679883" y="4493481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4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4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5" name="Freeform 33"/>
              <p:cNvSpPr>
                <a:spLocks/>
              </p:cNvSpPr>
              <p:nvPr/>
            </p:nvSpPr>
            <p:spPr bwMode="gray">
              <a:xfrm>
                <a:off x="8773303" y="4652701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3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6" name="Freeform 34"/>
              <p:cNvSpPr>
                <a:spLocks/>
              </p:cNvSpPr>
              <p:nvPr/>
            </p:nvSpPr>
            <p:spPr bwMode="gray">
              <a:xfrm>
                <a:off x="8781426" y="4495105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7" name="Freeform 35"/>
              <p:cNvSpPr>
                <a:spLocks/>
              </p:cNvSpPr>
              <p:nvPr/>
            </p:nvSpPr>
            <p:spPr bwMode="gray">
              <a:xfrm>
                <a:off x="10399623" y="3089744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8" name="Freeform 36"/>
              <p:cNvSpPr>
                <a:spLocks/>
              </p:cNvSpPr>
              <p:nvPr/>
            </p:nvSpPr>
            <p:spPr bwMode="gray">
              <a:xfrm>
                <a:off x="8112051" y="3443927"/>
                <a:ext cx="32494" cy="32494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49" name="Freeform 37"/>
              <p:cNvSpPr>
                <a:spLocks/>
              </p:cNvSpPr>
              <p:nvPr/>
            </p:nvSpPr>
            <p:spPr bwMode="gray">
              <a:xfrm>
                <a:off x="7941458" y="3690881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2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0" name="Freeform 38"/>
              <p:cNvSpPr>
                <a:spLocks/>
              </p:cNvSpPr>
              <p:nvPr/>
            </p:nvSpPr>
            <p:spPr bwMode="gray">
              <a:xfrm>
                <a:off x="9439428" y="4279021"/>
                <a:ext cx="32494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1" name="Freeform 39"/>
              <p:cNvSpPr>
                <a:spLocks/>
              </p:cNvSpPr>
              <p:nvPr/>
            </p:nvSpPr>
            <p:spPr bwMode="gray">
              <a:xfrm>
                <a:off x="8690443" y="4792425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2" name="Freeform 40"/>
              <p:cNvSpPr>
                <a:spLocks/>
              </p:cNvSpPr>
              <p:nvPr/>
            </p:nvSpPr>
            <p:spPr bwMode="gray">
              <a:xfrm>
                <a:off x="10527974" y="2956519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3" name="Freeform 41"/>
              <p:cNvSpPr>
                <a:spLocks/>
              </p:cNvSpPr>
              <p:nvPr/>
            </p:nvSpPr>
            <p:spPr bwMode="gray">
              <a:xfrm>
                <a:off x="7806609" y="2893155"/>
                <a:ext cx="30869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6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2" y="1"/>
                      <a:pt x="6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4" name="Freeform 42"/>
              <p:cNvSpPr>
                <a:spLocks/>
              </p:cNvSpPr>
              <p:nvPr/>
            </p:nvSpPr>
            <p:spPr bwMode="gray">
              <a:xfrm>
                <a:off x="10191662" y="3364317"/>
                <a:ext cx="32494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2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5" name="Freeform 43"/>
              <p:cNvSpPr>
                <a:spLocks/>
              </p:cNvSpPr>
              <p:nvPr/>
            </p:nvSpPr>
            <p:spPr bwMode="gray">
              <a:xfrm>
                <a:off x="8485731" y="3292831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6" name="Freeform 44"/>
              <p:cNvSpPr>
                <a:spLocks/>
              </p:cNvSpPr>
              <p:nvPr/>
            </p:nvSpPr>
            <p:spPr bwMode="gray">
              <a:xfrm>
                <a:off x="9210346" y="3486169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7" name="Freeform 45"/>
              <p:cNvSpPr>
                <a:spLocks/>
              </p:cNvSpPr>
              <p:nvPr/>
            </p:nvSpPr>
            <p:spPr bwMode="gray">
              <a:xfrm>
                <a:off x="9158355" y="3328574"/>
                <a:ext cx="32494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8" name="Freeform 46"/>
              <p:cNvSpPr>
                <a:spLocks/>
              </p:cNvSpPr>
              <p:nvPr/>
            </p:nvSpPr>
            <p:spPr bwMode="gray">
              <a:xfrm>
                <a:off x="9103116" y="3146608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59" name="Freeform 47"/>
              <p:cNvSpPr>
                <a:spLocks/>
              </p:cNvSpPr>
              <p:nvPr/>
            </p:nvSpPr>
            <p:spPr bwMode="gray">
              <a:xfrm>
                <a:off x="9119363" y="3039378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0" name="Freeform 48"/>
              <p:cNvSpPr>
                <a:spLocks/>
              </p:cNvSpPr>
              <p:nvPr/>
            </p:nvSpPr>
            <p:spPr bwMode="gray">
              <a:xfrm>
                <a:off x="9094992" y="2841165"/>
                <a:ext cx="32494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1" name="Freeform 49"/>
              <p:cNvSpPr>
                <a:spLocks/>
              </p:cNvSpPr>
              <p:nvPr/>
            </p:nvSpPr>
            <p:spPr bwMode="gray">
              <a:xfrm>
                <a:off x="8815545" y="499551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2" name="Freeform 50"/>
              <p:cNvSpPr>
                <a:spLocks/>
              </p:cNvSpPr>
              <p:nvPr/>
            </p:nvSpPr>
            <p:spPr bwMode="gray">
              <a:xfrm>
                <a:off x="9809858" y="5079996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3" name="Freeform 51"/>
              <p:cNvSpPr>
                <a:spLocks/>
              </p:cNvSpPr>
              <p:nvPr/>
            </p:nvSpPr>
            <p:spPr bwMode="gray">
              <a:xfrm>
                <a:off x="9580776" y="5029630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4" name="Freeform 52"/>
              <p:cNvSpPr>
                <a:spLocks/>
              </p:cNvSpPr>
              <p:nvPr/>
            </p:nvSpPr>
            <p:spPr bwMode="gray">
              <a:xfrm>
                <a:off x="9506040" y="4742059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4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4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2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5" name="Freeform 53"/>
              <p:cNvSpPr>
                <a:spLocks/>
              </p:cNvSpPr>
              <p:nvPr/>
            </p:nvSpPr>
            <p:spPr bwMode="gray">
              <a:xfrm>
                <a:off x="9449176" y="4543846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6" name="Freeform 54"/>
              <p:cNvSpPr>
                <a:spLocks/>
              </p:cNvSpPr>
              <p:nvPr/>
            </p:nvSpPr>
            <p:spPr bwMode="gray">
              <a:xfrm>
                <a:off x="9091743" y="4178290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1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3" y="15"/>
                      <a:pt x="8" y="15"/>
                    </a:cubicBezTo>
                    <a:cubicBezTo>
                      <a:pt x="4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7" name="Freeform 55"/>
              <p:cNvSpPr>
                <a:spLocks/>
              </p:cNvSpPr>
              <p:nvPr/>
            </p:nvSpPr>
            <p:spPr bwMode="gray">
              <a:xfrm>
                <a:off x="8745683" y="4256275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4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4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8" name="Freeform 56"/>
              <p:cNvSpPr>
                <a:spLocks/>
              </p:cNvSpPr>
              <p:nvPr/>
            </p:nvSpPr>
            <p:spPr bwMode="gray">
              <a:xfrm>
                <a:off x="8813920" y="4097055"/>
                <a:ext cx="30869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69" name="Freeform 57"/>
              <p:cNvSpPr>
                <a:spLocks/>
              </p:cNvSpPr>
              <p:nvPr/>
            </p:nvSpPr>
            <p:spPr bwMode="gray">
              <a:xfrm>
                <a:off x="9091743" y="3971953"/>
                <a:ext cx="32494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0" name="Freeform 58"/>
              <p:cNvSpPr>
                <a:spLocks/>
              </p:cNvSpPr>
              <p:nvPr/>
            </p:nvSpPr>
            <p:spPr bwMode="gray">
              <a:xfrm>
                <a:off x="8982888" y="4501604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1" name="Freeform 59"/>
              <p:cNvSpPr>
                <a:spLocks/>
              </p:cNvSpPr>
              <p:nvPr/>
            </p:nvSpPr>
            <p:spPr bwMode="gray">
              <a:xfrm>
                <a:off x="9652263" y="4829793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2" name="Freeform 60"/>
              <p:cNvSpPr>
                <a:spLocks/>
              </p:cNvSpPr>
              <p:nvPr/>
            </p:nvSpPr>
            <p:spPr bwMode="gray">
              <a:xfrm>
                <a:off x="9595399" y="4516226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3" name="Freeform 61"/>
              <p:cNvSpPr>
                <a:spLocks/>
              </p:cNvSpPr>
              <p:nvPr/>
            </p:nvSpPr>
            <p:spPr bwMode="gray">
              <a:xfrm>
                <a:off x="8688818" y="4675447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4" name="Freeform 62"/>
              <p:cNvSpPr>
                <a:spLocks/>
              </p:cNvSpPr>
              <p:nvPr/>
            </p:nvSpPr>
            <p:spPr bwMode="gray">
              <a:xfrm>
                <a:off x="8696942" y="4519476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5" name="Freeform 63"/>
              <p:cNvSpPr>
                <a:spLocks/>
              </p:cNvSpPr>
              <p:nvPr/>
            </p:nvSpPr>
            <p:spPr bwMode="gray">
              <a:xfrm>
                <a:off x="9354944" y="4303391"/>
                <a:ext cx="32494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6" name="Freeform 64"/>
              <p:cNvSpPr>
                <a:spLocks/>
              </p:cNvSpPr>
              <p:nvPr/>
            </p:nvSpPr>
            <p:spPr bwMode="gray">
              <a:xfrm>
                <a:off x="8605959" y="4816795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7" name="Freeform 65"/>
              <p:cNvSpPr>
                <a:spLocks/>
              </p:cNvSpPr>
              <p:nvPr/>
            </p:nvSpPr>
            <p:spPr bwMode="gray">
              <a:xfrm>
                <a:off x="8731061" y="5021507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8" name="Freeform 66"/>
              <p:cNvSpPr>
                <a:spLocks/>
              </p:cNvSpPr>
              <p:nvPr/>
            </p:nvSpPr>
            <p:spPr bwMode="gray">
              <a:xfrm>
                <a:off x="9725374" y="510274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79" name="Freeform 67"/>
              <p:cNvSpPr>
                <a:spLocks/>
              </p:cNvSpPr>
              <p:nvPr/>
            </p:nvSpPr>
            <p:spPr bwMode="gray">
              <a:xfrm>
                <a:off x="9496292" y="5054001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0" name="Freeform 68"/>
              <p:cNvSpPr>
                <a:spLocks/>
              </p:cNvSpPr>
              <p:nvPr/>
            </p:nvSpPr>
            <p:spPr bwMode="gray">
              <a:xfrm>
                <a:off x="9421556" y="4764805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1" name="Freeform 69"/>
              <p:cNvSpPr>
                <a:spLocks/>
              </p:cNvSpPr>
              <p:nvPr/>
            </p:nvSpPr>
            <p:spPr bwMode="gray">
              <a:xfrm>
                <a:off x="9364692" y="4569841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2" name="Freeform 70"/>
              <p:cNvSpPr>
                <a:spLocks/>
              </p:cNvSpPr>
              <p:nvPr/>
            </p:nvSpPr>
            <p:spPr bwMode="gray">
              <a:xfrm>
                <a:off x="9007259" y="4204285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3" name="Freeform 71"/>
              <p:cNvSpPr>
                <a:spLocks/>
              </p:cNvSpPr>
              <p:nvPr/>
            </p:nvSpPr>
            <p:spPr bwMode="gray">
              <a:xfrm>
                <a:off x="8661199" y="4279021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3" y="15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4" name="Freeform 72"/>
              <p:cNvSpPr>
                <a:spLocks/>
              </p:cNvSpPr>
              <p:nvPr/>
            </p:nvSpPr>
            <p:spPr bwMode="gray">
              <a:xfrm>
                <a:off x="9000760" y="4090556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3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5" name="Freeform 73"/>
              <p:cNvSpPr>
                <a:spLocks/>
              </p:cNvSpPr>
              <p:nvPr/>
            </p:nvSpPr>
            <p:spPr bwMode="gray">
              <a:xfrm>
                <a:off x="9280208" y="3963830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4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6" name="Freeform 74"/>
              <p:cNvSpPr>
                <a:spLocks/>
              </p:cNvSpPr>
              <p:nvPr/>
            </p:nvSpPr>
            <p:spPr bwMode="gray">
              <a:xfrm>
                <a:off x="9172978" y="4493481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7" name="Freeform 75"/>
              <p:cNvSpPr>
                <a:spLocks/>
              </p:cNvSpPr>
              <p:nvPr/>
            </p:nvSpPr>
            <p:spPr bwMode="gray">
              <a:xfrm>
                <a:off x="9842352" y="4821669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8" name="Freeform 76"/>
              <p:cNvSpPr>
                <a:spLocks/>
              </p:cNvSpPr>
              <p:nvPr/>
            </p:nvSpPr>
            <p:spPr bwMode="gray">
              <a:xfrm>
                <a:off x="9785488" y="4508103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89" name="Freeform 77"/>
              <p:cNvSpPr>
                <a:spLocks/>
              </p:cNvSpPr>
              <p:nvPr/>
            </p:nvSpPr>
            <p:spPr bwMode="gray">
              <a:xfrm>
                <a:off x="8878908" y="4667323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0" name="Freeform 78"/>
              <p:cNvSpPr>
                <a:spLocks/>
              </p:cNvSpPr>
              <p:nvPr/>
            </p:nvSpPr>
            <p:spPr bwMode="gray">
              <a:xfrm>
                <a:off x="8887031" y="4509728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1" name="Freeform 79"/>
              <p:cNvSpPr>
                <a:spLocks/>
              </p:cNvSpPr>
              <p:nvPr/>
            </p:nvSpPr>
            <p:spPr bwMode="gray">
              <a:xfrm>
                <a:off x="9543408" y="4295268"/>
                <a:ext cx="32494" cy="32494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2" name="Freeform 80"/>
              <p:cNvSpPr>
                <a:spLocks/>
              </p:cNvSpPr>
              <p:nvPr/>
            </p:nvSpPr>
            <p:spPr bwMode="gray">
              <a:xfrm>
                <a:off x="8796048" y="4808672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3" name="Freeform 81"/>
              <p:cNvSpPr>
                <a:spLocks/>
              </p:cNvSpPr>
              <p:nvPr/>
            </p:nvSpPr>
            <p:spPr bwMode="gray">
              <a:xfrm>
                <a:off x="8919525" y="5011759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4" name="Freeform 82"/>
              <p:cNvSpPr>
                <a:spLocks/>
              </p:cNvSpPr>
              <p:nvPr/>
            </p:nvSpPr>
            <p:spPr bwMode="gray">
              <a:xfrm>
                <a:off x="9913839" y="5097867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4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4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5" name="Freeform 83"/>
              <p:cNvSpPr>
                <a:spLocks/>
              </p:cNvSpPr>
              <p:nvPr/>
            </p:nvSpPr>
            <p:spPr bwMode="gray">
              <a:xfrm>
                <a:off x="9683132" y="5045877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1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6" name="Freeform 84"/>
              <p:cNvSpPr>
                <a:spLocks/>
              </p:cNvSpPr>
              <p:nvPr/>
            </p:nvSpPr>
            <p:spPr bwMode="gray">
              <a:xfrm>
                <a:off x="9611646" y="4756681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1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7" name="Freeform 85"/>
              <p:cNvSpPr>
                <a:spLocks/>
              </p:cNvSpPr>
              <p:nvPr/>
            </p:nvSpPr>
            <p:spPr bwMode="gray">
              <a:xfrm>
                <a:off x="9553157" y="4561718"/>
                <a:ext cx="32494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8" name="Freeform 86"/>
              <p:cNvSpPr>
                <a:spLocks/>
              </p:cNvSpPr>
              <p:nvPr/>
            </p:nvSpPr>
            <p:spPr bwMode="gray">
              <a:xfrm>
                <a:off x="9197348" y="4194537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99" name="Freeform 87"/>
              <p:cNvSpPr>
                <a:spLocks/>
              </p:cNvSpPr>
              <p:nvPr/>
            </p:nvSpPr>
            <p:spPr bwMode="gray">
              <a:xfrm>
                <a:off x="8851288" y="4270897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9 h 15"/>
                  <a:gd name="T6" fmla="*/ 7 w 15"/>
                  <a:gd name="T7" fmla="*/ 1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3"/>
                      <a:pt x="0" y="9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0" name="Freeform 88"/>
              <p:cNvSpPr>
                <a:spLocks/>
              </p:cNvSpPr>
              <p:nvPr/>
            </p:nvSpPr>
            <p:spPr bwMode="gray">
              <a:xfrm>
                <a:off x="8880533" y="4305016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1" name="Freeform 89"/>
              <p:cNvSpPr>
                <a:spLocks/>
              </p:cNvSpPr>
              <p:nvPr/>
            </p:nvSpPr>
            <p:spPr bwMode="gray">
              <a:xfrm>
                <a:off x="9159980" y="4179914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2" name="Freeform 90"/>
              <p:cNvSpPr>
                <a:spLocks/>
              </p:cNvSpPr>
              <p:nvPr/>
            </p:nvSpPr>
            <p:spPr bwMode="gray">
              <a:xfrm>
                <a:off x="9052750" y="4709565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3" name="Freeform 91"/>
              <p:cNvSpPr>
                <a:spLocks/>
              </p:cNvSpPr>
              <p:nvPr/>
            </p:nvSpPr>
            <p:spPr bwMode="gray">
              <a:xfrm>
                <a:off x="9722125" y="5037754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4" name="Freeform 92"/>
              <p:cNvSpPr>
                <a:spLocks/>
              </p:cNvSpPr>
              <p:nvPr/>
            </p:nvSpPr>
            <p:spPr bwMode="gray">
              <a:xfrm>
                <a:off x="9662011" y="4724187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5" name="Freeform 93"/>
              <p:cNvSpPr>
                <a:spLocks/>
              </p:cNvSpPr>
              <p:nvPr/>
            </p:nvSpPr>
            <p:spPr bwMode="gray">
              <a:xfrm>
                <a:off x="8757056" y="4883408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6" name="Freeform 94"/>
              <p:cNvSpPr>
                <a:spLocks/>
              </p:cNvSpPr>
              <p:nvPr/>
            </p:nvSpPr>
            <p:spPr bwMode="gray">
              <a:xfrm>
                <a:off x="8765179" y="4725812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7" name="Freeform 95"/>
              <p:cNvSpPr>
                <a:spLocks/>
              </p:cNvSpPr>
              <p:nvPr/>
            </p:nvSpPr>
            <p:spPr bwMode="gray">
              <a:xfrm>
                <a:off x="9423181" y="4509728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8" name="Freeform 96"/>
              <p:cNvSpPr>
                <a:spLocks/>
              </p:cNvSpPr>
              <p:nvPr/>
            </p:nvSpPr>
            <p:spPr bwMode="gray">
              <a:xfrm>
                <a:off x="9562905" y="4400873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09" name="Freeform 97"/>
              <p:cNvSpPr>
                <a:spLocks/>
              </p:cNvSpPr>
              <p:nvPr/>
            </p:nvSpPr>
            <p:spPr bwMode="gray">
              <a:xfrm>
                <a:off x="9506040" y="4087307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0" name="Freeform 98"/>
              <p:cNvSpPr>
                <a:spLocks/>
              </p:cNvSpPr>
              <p:nvPr/>
            </p:nvSpPr>
            <p:spPr bwMode="gray">
              <a:xfrm>
                <a:off x="9333823" y="4334260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1" name="Freeform 99"/>
              <p:cNvSpPr>
                <a:spLocks/>
              </p:cNvSpPr>
              <p:nvPr/>
            </p:nvSpPr>
            <p:spPr bwMode="gray">
              <a:xfrm>
                <a:off x="9275334" y="413767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2" name="Freeform 100"/>
              <p:cNvSpPr>
                <a:spLocks/>
              </p:cNvSpPr>
              <p:nvPr/>
            </p:nvSpPr>
            <p:spPr bwMode="gray">
              <a:xfrm>
                <a:off x="9478421" y="4423619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3" name="Freeform 101"/>
              <p:cNvSpPr>
                <a:spLocks/>
              </p:cNvSpPr>
              <p:nvPr/>
            </p:nvSpPr>
            <p:spPr bwMode="gray">
              <a:xfrm>
                <a:off x="9421556" y="411005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4" name="Freeform 102"/>
              <p:cNvSpPr>
                <a:spLocks/>
              </p:cNvSpPr>
              <p:nvPr/>
            </p:nvSpPr>
            <p:spPr bwMode="gray">
              <a:xfrm>
                <a:off x="9249338" y="4358631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1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3"/>
                      <a:pt x="0" y="8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5" name="Freeform 103"/>
              <p:cNvSpPr>
                <a:spLocks/>
              </p:cNvSpPr>
              <p:nvPr/>
            </p:nvSpPr>
            <p:spPr bwMode="gray">
              <a:xfrm>
                <a:off x="9190849" y="4163667"/>
                <a:ext cx="32494" cy="30869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6" name="Freeform 104"/>
              <p:cNvSpPr>
                <a:spLocks/>
              </p:cNvSpPr>
              <p:nvPr/>
            </p:nvSpPr>
            <p:spPr bwMode="gray">
              <a:xfrm>
                <a:off x="9610021" y="4101929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2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7" name="Freeform 105"/>
              <p:cNvSpPr>
                <a:spLocks/>
              </p:cNvSpPr>
              <p:nvPr/>
            </p:nvSpPr>
            <p:spPr bwMode="gray">
              <a:xfrm>
                <a:off x="9439428" y="4348883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8" name="Freeform 106"/>
              <p:cNvSpPr>
                <a:spLocks/>
              </p:cNvSpPr>
              <p:nvPr/>
            </p:nvSpPr>
            <p:spPr bwMode="gray">
              <a:xfrm>
                <a:off x="9379314" y="4155544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3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19" name="Freeform 107"/>
              <p:cNvSpPr>
                <a:spLocks/>
              </p:cNvSpPr>
              <p:nvPr/>
            </p:nvSpPr>
            <p:spPr bwMode="gray">
              <a:xfrm>
                <a:off x="9489793" y="4318014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0" name="Freeform 108"/>
              <p:cNvSpPr>
                <a:spLocks/>
              </p:cNvSpPr>
              <p:nvPr/>
            </p:nvSpPr>
            <p:spPr bwMode="gray">
              <a:xfrm>
                <a:off x="9249338" y="4103554"/>
                <a:ext cx="32494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2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1" name="Freeform 109"/>
              <p:cNvSpPr>
                <a:spLocks/>
              </p:cNvSpPr>
              <p:nvPr/>
            </p:nvSpPr>
            <p:spPr bwMode="gray">
              <a:xfrm>
                <a:off x="8823668" y="5406560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2" name="Freeform 110"/>
              <p:cNvSpPr>
                <a:spLocks/>
              </p:cNvSpPr>
              <p:nvPr/>
            </p:nvSpPr>
            <p:spPr bwMode="gray">
              <a:xfrm>
                <a:off x="8766804" y="5092993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3" name="Freeform 111"/>
              <p:cNvSpPr>
                <a:spLocks/>
              </p:cNvSpPr>
              <p:nvPr/>
            </p:nvSpPr>
            <p:spPr bwMode="gray">
              <a:xfrm>
                <a:off x="8594586" y="5339947"/>
                <a:ext cx="32494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4" name="Freeform 112"/>
              <p:cNvSpPr>
                <a:spLocks/>
              </p:cNvSpPr>
              <p:nvPr/>
            </p:nvSpPr>
            <p:spPr bwMode="gray">
              <a:xfrm>
                <a:off x="8537722" y="5143359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5" name="Freeform 113"/>
              <p:cNvSpPr>
                <a:spLocks/>
              </p:cNvSpPr>
              <p:nvPr/>
            </p:nvSpPr>
            <p:spPr bwMode="gray">
              <a:xfrm>
                <a:off x="8739184" y="5429305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2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6" name="Freeform 114"/>
              <p:cNvSpPr>
                <a:spLocks/>
              </p:cNvSpPr>
              <p:nvPr/>
            </p:nvSpPr>
            <p:spPr bwMode="gray">
              <a:xfrm>
                <a:off x="8682320" y="5115739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7" name="Freeform 115"/>
              <p:cNvSpPr>
                <a:spLocks/>
              </p:cNvSpPr>
              <p:nvPr/>
            </p:nvSpPr>
            <p:spPr bwMode="gray">
              <a:xfrm>
                <a:off x="8510102" y="5364318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1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8" name="Freeform 116"/>
              <p:cNvSpPr>
                <a:spLocks/>
              </p:cNvSpPr>
              <p:nvPr/>
            </p:nvSpPr>
            <p:spPr bwMode="gray">
              <a:xfrm>
                <a:off x="8453238" y="5169354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29" name="Freeform 117"/>
              <p:cNvSpPr>
                <a:spLocks/>
              </p:cNvSpPr>
              <p:nvPr/>
            </p:nvSpPr>
            <p:spPr bwMode="gray">
              <a:xfrm>
                <a:off x="8872409" y="5107616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0" name="Freeform 118"/>
              <p:cNvSpPr>
                <a:spLocks/>
              </p:cNvSpPr>
              <p:nvPr/>
            </p:nvSpPr>
            <p:spPr bwMode="gray">
              <a:xfrm>
                <a:off x="8700191" y="5356194"/>
                <a:ext cx="30869" cy="32494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1" name="Freeform 119"/>
              <p:cNvSpPr>
                <a:spLocks/>
              </p:cNvSpPr>
              <p:nvPr/>
            </p:nvSpPr>
            <p:spPr bwMode="gray">
              <a:xfrm>
                <a:off x="8640078" y="5161231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2" name="Freeform 120"/>
              <p:cNvSpPr>
                <a:spLocks/>
              </p:cNvSpPr>
              <p:nvPr/>
            </p:nvSpPr>
            <p:spPr bwMode="gray">
              <a:xfrm>
                <a:off x="8750557" y="5323700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3" name="Freeform 121"/>
              <p:cNvSpPr>
                <a:spLocks/>
              </p:cNvSpPr>
              <p:nvPr/>
            </p:nvSpPr>
            <p:spPr bwMode="gray">
              <a:xfrm>
                <a:off x="8511727" y="5109240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4" name="Freeform 122"/>
              <p:cNvSpPr>
                <a:spLocks/>
              </p:cNvSpPr>
              <p:nvPr/>
            </p:nvSpPr>
            <p:spPr bwMode="gray">
              <a:xfrm>
                <a:off x="8674196" y="5023131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5" name="Freeform 123"/>
              <p:cNvSpPr>
                <a:spLocks/>
              </p:cNvSpPr>
              <p:nvPr/>
            </p:nvSpPr>
            <p:spPr bwMode="gray">
              <a:xfrm>
                <a:off x="8799298" y="5227843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4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4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2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6" name="Freeform 124"/>
              <p:cNvSpPr>
                <a:spLocks/>
              </p:cNvSpPr>
              <p:nvPr/>
            </p:nvSpPr>
            <p:spPr bwMode="gray">
              <a:xfrm>
                <a:off x="9793611" y="5310703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7" name="Freeform 125"/>
              <p:cNvSpPr>
                <a:spLocks/>
              </p:cNvSpPr>
              <p:nvPr/>
            </p:nvSpPr>
            <p:spPr bwMode="gray">
              <a:xfrm>
                <a:off x="9562905" y="5261962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8" name="Freeform 126"/>
              <p:cNvSpPr>
                <a:spLocks/>
              </p:cNvSpPr>
              <p:nvPr/>
            </p:nvSpPr>
            <p:spPr bwMode="gray">
              <a:xfrm>
                <a:off x="9489793" y="4972766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2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39" name="Freeform 127"/>
              <p:cNvSpPr>
                <a:spLocks/>
              </p:cNvSpPr>
              <p:nvPr/>
            </p:nvSpPr>
            <p:spPr bwMode="gray">
              <a:xfrm>
                <a:off x="8724562" y="4972766"/>
                <a:ext cx="32494" cy="32494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2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0" name="Freeform 128"/>
              <p:cNvSpPr>
                <a:spLocks/>
              </p:cNvSpPr>
              <p:nvPr/>
            </p:nvSpPr>
            <p:spPr bwMode="gray">
              <a:xfrm>
                <a:off x="8495480" y="4924025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1" name="Freeform 129"/>
              <p:cNvSpPr>
                <a:spLocks/>
              </p:cNvSpPr>
              <p:nvPr/>
            </p:nvSpPr>
            <p:spPr bwMode="gray">
              <a:xfrm>
                <a:off x="8640078" y="4997136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2" name="Freeform 130"/>
              <p:cNvSpPr>
                <a:spLocks/>
              </p:cNvSpPr>
              <p:nvPr/>
            </p:nvSpPr>
            <p:spPr bwMode="gray">
              <a:xfrm>
                <a:off x="8410995" y="4948395"/>
                <a:ext cx="30869" cy="32494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6 w 15"/>
                  <a:gd name="T7" fmla="*/ 0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2" y="0"/>
                      <a:pt x="6" y="0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3" name="Freeform 131"/>
              <p:cNvSpPr>
                <a:spLocks/>
              </p:cNvSpPr>
              <p:nvPr/>
            </p:nvSpPr>
            <p:spPr bwMode="gray">
              <a:xfrm>
                <a:off x="8597835" y="4940272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4" name="Freeform 132"/>
              <p:cNvSpPr>
                <a:spLocks/>
              </p:cNvSpPr>
              <p:nvPr/>
            </p:nvSpPr>
            <p:spPr bwMode="gray">
              <a:xfrm>
                <a:off x="8636828" y="4930524"/>
                <a:ext cx="30869" cy="32494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2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5" name="Freeform 133"/>
              <p:cNvSpPr>
                <a:spLocks/>
              </p:cNvSpPr>
              <p:nvPr/>
            </p:nvSpPr>
            <p:spPr bwMode="gray">
              <a:xfrm>
                <a:off x="8404497" y="4863911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6" name="Freeform 134"/>
              <p:cNvSpPr>
                <a:spLocks/>
              </p:cNvSpPr>
              <p:nvPr/>
            </p:nvSpPr>
            <p:spPr bwMode="gray">
              <a:xfrm>
                <a:off x="9075496" y="4408996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7" name="Freeform 135"/>
              <p:cNvSpPr>
                <a:spLocks/>
              </p:cNvSpPr>
              <p:nvPr/>
            </p:nvSpPr>
            <p:spPr bwMode="gray">
              <a:xfrm>
                <a:off x="8731061" y="4486982"/>
                <a:ext cx="32494" cy="32494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chemeClr val="accent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5" name="Freeform 173"/>
              <p:cNvSpPr>
                <a:spLocks/>
              </p:cNvSpPr>
              <p:nvPr/>
            </p:nvSpPr>
            <p:spPr bwMode="gray">
              <a:xfrm>
                <a:off x="10620582" y="1812733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6" name="Freeform 174"/>
              <p:cNvSpPr>
                <a:spLocks/>
              </p:cNvSpPr>
              <p:nvPr/>
            </p:nvSpPr>
            <p:spPr bwMode="gray">
              <a:xfrm>
                <a:off x="10703441" y="2236778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7" name="Freeform 175"/>
              <p:cNvSpPr>
                <a:spLocks/>
              </p:cNvSpPr>
              <p:nvPr/>
            </p:nvSpPr>
            <p:spPr bwMode="gray">
              <a:xfrm>
                <a:off x="10527974" y="2127924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8" name="Freeform 176"/>
              <p:cNvSpPr>
                <a:spLocks/>
              </p:cNvSpPr>
              <p:nvPr/>
            </p:nvSpPr>
            <p:spPr bwMode="gray">
              <a:xfrm>
                <a:off x="10617332" y="2519475"/>
                <a:ext cx="30869" cy="32494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4" name="Freeform 182"/>
              <p:cNvSpPr>
                <a:spLocks/>
              </p:cNvSpPr>
              <p:nvPr/>
            </p:nvSpPr>
            <p:spPr bwMode="gray">
              <a:xfrm>
                <a:off x="6932522" y="4681945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1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5" name="Freeform 183"/>
              <p:cNvSpPr>
                <a:spLocks/>
              </p:cNvSpPr>
              <p:nvPr/>
            </p:nvSpPr>
            <p:spPr bwMode="gray">
              <a:xfrm>
                <a:off x="7554781" y="2012570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4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4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2" name="Freeform 190"/>
              <p:cNvSpPr>
                <a:spLocks/>
              </p:cNvSpPr>
              <p:nvPr/>
            </p:nvSpPr>
            <p:spPr bwMode="gray">
              <a:xfrm>
                <a:off x="11470297" y="4179914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3" name="Freeform 191"/>
              <p:cNvSpPr>
                <a:spLocks/>
              </p:cNvSpPr>
              <p:nvPr/>
            </p:nvSpPr>
            <p:spPr bwMode="gray">
              <a:xfrm>
                <a:off x="10794424" y="3599898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4" name="Freeform 192"/>
              <p:cNvSpPr>
                <a:spLocks/>
              </p:cNvSpPr>
              <p:nvPr/>
            </p:nvSpPr>
            <p:spPr bwMode="gray">
              <a:xfrm>
                <a:off x="11436179" y="4459362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5" name="Freeform 193"/>
              <p:cNvSpPr>
                <a:spLocks/>
              </p:cNvSpPr>
              <p:nvPr/>
            </p:nvSpPr>
            <p:spPr bwMode="gray">
              <a:xfrm>
                <a:off x="11564530" y="4326137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6" name="Freeform 194"/>
              <p:cNvSpPr>
                <a:spLocks/>
              </p:cNvSpPr>
              <p:nvPr/>
            </p:nvSpPr>
            <p:spPr bwMode="gray">
              <a:xfrm>
                <a:off x="11229842" y="4735560"/>
                <a:ext cx="30869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4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4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5" name="Freeform 203"/>
              <p:cNvSpPr>
                <a:spLocks/>
              </p:cNvSpPr>
              <p:nvPr/>
            </p:nvSpPr>
            <p:spPr bwMode="gray">
              <a:xfrm>
                <a:off x="11203847" y="3146608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6" name="Freeform 204"/>
              <p:cNvSpPr>
                <a:spLocks/>
              </p:cNvSpPr>
              <p:nvPr/>
            </p:nvSpPr>
            <p:spPr bwMode="gray">
              <a:xfrm>
                <a:off x="11853726" y="5458550"/>
                <a:ext cx="32494" cy="32494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7" name="Freeform 205"/>
              <p:cNvSpPr>
                <a:spLocks/>
              </p:cNvSpPr>
              <p:nvPr/>
            </p:nvSpPr>
            <p:spPr bwMode="gray">
              <a:xfrm>
                <a:off x="11034879" y="3270085"/>
                <a:ext cx="32494" cy="30869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8" name="Freeform 206"/>
              <p:cNvSpPr>
                <a:spLocks/>
              </p:cNvSpPr>
              <p:nvPr/>
            </p:nvSpPr>
            <p:spPr bwMode="gray">
              <a:xfrm>
                <a:off x="11288331" y="3809484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9" name="Freeform 207"/>
              <p:cNvSpPr>
                <a:spLocks/>
              </p:cNvSpPr>
              <p:nvPr/>
            </p:nvSpPr>
            <p:spPr bwMode="gray">
              <a:xfrm>
                <a:off x="11653888" y="3887469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88" name="Freeform 213"/>
              <p:cNvSpPr>
                <a:spLocks/>
              </p:cNvSpPr>
              <p:nvPr/>
            </p:nvSpPr>
            <p:spPr bwMode="gray">
              <a:xfrm>
                <a:off x="10976391" y="5037754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89" name="Freeform 214"/>
              <p:cNvSpPr>
                <a:spLocks/>
              </p:cNvSpPr>
              <p:nvPr/>
            </p:nvSpPr>
            <p:spPr bwMode="gray">
              <a:xfrm>
                <a:off x="11530412" y="5406560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1" name="Freeform 215"/>
              <p:cNvSpPr>
                <a:spLocks/>
              </p:cNvSpPr>
              <p:nvPr/>
            </p:nvSpPr>
            <p:spPr bwMode="gray">
              <a:xfrm>
                <a:off x="11452426" y="5115739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2" name="Freeform 216"/>
              <p:cNvSpPr>
                <a:spLocks/>
              </p:cNvSpPr>
              <p:nvPr/>
            </p:nvSpPr>
            <p:spPr bwMode="gray">
              <a:xfrm>
                <a:off x="10987763" y="4613708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0" name="Freeform 224"/>
              <p:cNvSpPr>
                <a:spLocks/>
              </p:cNvSpPr>
              <p:nvPr/>
            </p:nvSpPr>
            <p:spPr bwMode="gray">
              <a:xfrm>
                <a:off x="11470298" y="2266023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1" name="Freeform 225"/>
              <p:cNvSpPr>
                <a:spLocks/>
              </p:cNvSpPr>
              <p:nvPr/>
            </p:nvSpPr>
            <p:spPr bwMode="gray">
              <a:xfrm>
                <a:off x="11436179" y="2543846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2" name="Freeform 226"/>
              <p:cNvSpPr>
                <a:spLocks/>
              </p:cNvSpPr>
              <p:nvPr/>
            </p:nvSpPr>
            <p:spPr bwMode="gray">
              <a:xfrm>
                <a:off x="11564530" y="2410621"/>
                <a:ext cx="32494" cy="32494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3" name="Freeform 227"/>
              <p:cNvSpPr>
                <a:spLocks/>
              </p:cNvSpPr>
              <p:nvPr/>
            </p:nvSpPr>
            <p:spPr bwMode="gray">
              <a:xfrm>
                <a:off x="11229843" y="2818420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9" name="Freeform 233"/>
              <p:cNvSpPr>
                <a:spLocks/>
              </p:cNvSpPr>
              <p:nvPr/>
            </p:nvSpPr>
            <p:spPr bwMode="gray">
              <a:xfrm>
                <a:off x="11307828" y="2033692"/>
                <a:ext cx="32494" cy="32494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0" name="Freeform 234"/>
              <p:cNvSpPr>
                <a:spLocks/>
              </p:cNvSpPr>
              <p:nvPr/>
            </p:nvSpPr>
            <p:spPr bwMode="gray">
              <a:xfrm>
                <a:off x="11268836" y="3390312"/>
                <a:ext cx="34119" cy="32494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4" name="Freeform 238"/>
              <p:cNvSpPr>
                <a:spLocks/>
              </p:cNvSpPr>
              <p:nvPr/>
            </p:nvSpPr>
            <p:spPr bwMode="gray">
              <a:xfrm>
                <a:off x="7062499" y="5323700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5" name="Freeform 239"/>
              <p:cNvSpPr>
                <a:spLocks/>
              </p:cNvSpPr>
              <p:nvPr/>
            </p:nvSpPr>
            <p:spPr bwMode="gray">
              <a:xfrm>
                <a:off x="7138859" y="5065374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8" name="Freeform 240"/>
              <p:cNvSpPr>
                <a:spLocks/>
              </p:cNvSpPr>
              <p:nvPr/>
            </p:nvSpPr>
            <p:spPr bwMode="gray">
              <a:xfrm>
                <a:off x="6620581" y="5452051"/>
                <a:ext cx="32494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8" name="Freeform 241"/>
              <p:cNvSpPr>
                <a:spLocks/>
              </p:cNvSpPr>
              <p:nvPr/>
            </p:nvSpPr>
            <p:spPr bwMode="gray">
              <a:xfrm>
                <a:off x="7135610" y="5819233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7" name="Freeform 248"/>
              <p:cNvSpPr>
                <a:spLocks/>
              </p:cNvSpPr>
              <p:nvPr/>
            </p:nvSpPr>
            <p:spPr bwMode="gray">
              <a:xfrm>
                <a:off x="7135610" y="4989013"/>
                <a:ext cx="32494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2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8" name="Freeform 249"/>
              <p:cNvSpPr>
                <a:spLocks/>
              </p:cNvSpPr>
              <p:nvPr/>
            </p:nvSpPr>
            <p:spPr bwMode="gray">
              <a:xfrm>
                <a:off x="7637641" y="2841165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1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1" name="Freeform 252"/>
              <p:cNvSpPr>
                <a:spLocks/>
              </p:cNvSpPr>
              <p:nvPr/>
            </p:nvSpPr>
            <p:spPr bwMode="gray">
              <a:xfrm>
                <a:off x="7372815" y="5016633"/>
                <a:ext cx="32494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0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115" name="Freeform 253"/>
              <p:cNvSpPr>
                <a:spLocks/>
              </p:cNvSpPr>
              <p:nvPr/>
            </p:nvSpPr>
            <p:spPr bwMode="gray">
              <a:xfrm>
                <a:off x="6807421" y="3971954"/>
                <a:ext cx="34119" cy="34119"/>
              </a:xfrm>
              <a:custGeom>
                <a:avLst/>
                <a:gdLst>
                  <a:gd name="T0" fmla="*/ 15 w 16"/>
                  <a:gd name="T1" fmla="*/ 7 h 16"/>
                  <a:gd name="T2" fmla="*/ 9 w 16"/>
                  <a:gd name="T3" fmla="*/ 15 h 16"/>
                  <a:gd name="T4" fmla="*/ 1 w 16"/>
                  <a:gd name="T5" fmla="*/ 9 h 16"/>
                  <a:gd name="T6" fmla="*/ 7 w 16"/>
                  <a:gd name="T7" fmla="*/ 1 h 16"/>
                  <a:gd name="T8" fmla="*/ 15 w 16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6">
                    <a:moveTo>
                      <a:pt x="15" y="7"/>
                    </a:moveTo>
                    <a:cubicBezTo>
                      <a:pt x="16" y="11"/>
                      <a:pt x="13" y="15"/>
                      <a:pt x="9" y="15"/>
                    </a:cubicBezTo>
                    <a:cubicBezTo>
                      <a:pt x="5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37" name="Freeform 254"/>
              <p:cNvSpPr>
                <a:spLocks/>
              </p:cNvSpPr>
              <p:nvPr/>
            </p:nvSpPr>
            <p:spPr bwMode="gray">
              <a:xfrm>
                <a:off x="6664448" y="4339135"/>
                <a:ext cx="34119" cy="30869"/>
              </a:xfrm>
              <a:custGeom>
                <a:avLst/>
                <a:gdLst>
                  <a:gd name="T0" fmla="*/ 15 w 16"/>
                  <a:gd name="T1" fmla="*/ 7 h 15"/>
                  <a:gd name="T2" fmla="*/ 9 w 16"/>
                  <a:gd name="T3" fmla="*/ 15 h 15"/>
                  <a:gd name="T4" fmla="*/ 1 w 16"/>
                  <a:gd name="T5" fmla="*/ 8 h 15"/>
                  <a:gd name="T6" fmla="*/ 7 w 16"/>
                  <a:gd name="T7" fmla="*/ 0 h 15"/>
                  <a:gd name="T8" fmla="*/ 15 w 16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" h="15">
                    <a:moveTo>
                      <a:pt x="15" y="7"/>
                    </a:moveTo>
                    <a:cubicBezTo>
                      <a:pt x="16" y="11"/>
                      <a:pt x="13" y="14"/>
                      <a:pt x="9" y="15"/>
                    </a:cubicBezTo>
                    <a:cubicBezTo>
                      <a:pt x="5" y="15"/>
                      <a:pt x="1" y="12"/>
                      <a:pt x="1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38" name="Freeform 255"/>
              <p:cNvSpPr>
                <a:spLocks/>
              </p:cNvSpPr>
              <p:nvPr/>
            </p:nvSpPr>
            <p:spPr bwMode="gray">
              <a:xfrm>
                <a:off x="7327324" y="4808672"/>
                <a:ext cx="30869" cy="32494"/>
              </a:xfrm>
              <a:custGeom>
                <a:avLst/>
                <a:gdLst>
                  <a:gd name="T0" fmla="*/ 15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0 h 15"/>
                  <a:gd name="T8" fmla="*/ 15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5" y="7"/>
                    </a:moveTo>
                    <a:cubicBezTo>
                      <a:pt x="15" y="11"/>
                      <a:pt x="12" y="14"/>
                      <a:pt x="8" y="15"/>
                    </a:cubicBezTo>
                    <a:cubicBezTo>
                      <a:pt x="4" y="15"/>
                      <a:pt x="1" y="12"/>
                      <a:pt x="0" y="8"/>
                    </a:cubicBezTo>
                    <a:cubicBezTo>
                      <a:pt x="0" y="4"/>
                      <a:pt x="3" y="0"/>
                      <a:pt x="7" y="0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1" name="Freeform 258"/>
              <p:cNvSpPr>
                <a:spLocks/>
              </p:cNvSpPr>
              <p:nvPr/>
            </p:nvSpPr>
            <p:spPr bwMode="gray">
              <a:xfrm>
                <a:off x="6818794" y="3042628"/>
                <a:ext cx="30869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2" name="Freeform 259"/>
              <p:cNvSpPr>
                <a:spLocks/>
              </p:cNvSpPr>
              <p:nvPr/>
            </p:nvSpPr>
            <p:spPr bwMode="gray">
              <a:xfrm>
                <a:off x="6882157" y="2314764"/>
                <a:ext cx="30869" cy="34119"/>
              </a:xfrm>
              <a:custGeom>
                <a:avLst/>
                <a:gdLst>
                  <a:gd name="T0" fmla="*/ 14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4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4" y="7"/>
                    </a:moveTo>
                    <a:cubicBezTo>
                      <a:pt x="15" y="12"/>
                      <a:pt x="12" y="15"/>
                      <a:pt x="8" y="15"/>
                    </a:cubicBezTo>
                    <a:cubicBezTo>
                      <a:pt x="4" y="16"/>
                      <a:pt x="0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3" name="Freeform 260"/>
              <p:cNvSpPr>
                <a:spLocks/>
              </p:cNvSpPr>
              <p:nvPr/>
            </p:nvSpPr>
            <p:spPr bwMode="gray">
              <a:xfrm>
                <a:off x="6532848" y="2846039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0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6"/>
                      <a:pt x="1" y="13"/>
                      <a:pt x="0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9" name="Freeform 266"/>
              <p:cNvSpPr>
                <a:spLocks/>
              </p:cNvSpPr>
              <p:nvPr/>
            </p:nvSpPr>
            <p:spPr bwMode="gray">
              <a:xfrm>
                <a:off x="6882157" y="3279833"/>
                <a:ext cx="30869" cy="32494"/>
              </a:xfrm>
              <a:custGeom>
                <a:avLst/>
                <a:gdLst>
                  <a:gd name="T0" fmla="*/ 14 w 15"/>
                  <a:gd name="T1" fmla="*/ 7 h 15"/>
                  <a:gd name="T2" fmla="*/ 8 w 15"/>
                  <a:gd name="T3" fmla="*/ 15 h 15"/>
                  <a:gd name="T4" fmla="*/ 0 w 15"/>
                  <a:gd name="T5" fmla="*/ 8 h 15"/>
                  <a:gd name="T6" fmla="*/ 7 w 15"/>
                  <a:gd name="T7" fmla="*/ 1 h 15"/>
                  <a:gd name="T8" fmla="*/ 14 w 15"/>
                  <a:gd name="T9" fmla="*/ 7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5">
                    <a:moveTo>
                      <a:pt x="14" y="7"/>
                    </a:moveTo>
                    <a:cubicBezTo>
                      <a:pt x="15" y="11"/>
                      <a:pt x="12" y="15"/>
                      <a:pt x="8" y="15"/>
                    </a:cubicBezTo>
                    <a:cubicBezTo>
                      <a:pt x="4" y="15"/>
                      <a:pt x="0" y="13"/>
                      <a:pt x="0" y="8"/>
                    </a:cubicBezTo>
                    <a:cubicBezTo>
                      <a:pt x="0" y="4"/>
                      <a:pt x="3" y="1"/>
                      <a:pt x="7" y="1"/>
                    </a:cubicBezTo>
                    <a:cubicBezTo>
                      <a:pt x="11" y="0"/>
                      <a:pt x="14" y="3"/>
                      <a:pt x="14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7" name="Freeform 274"/>
              <p:cNvSpPr>
                <a:spLocks/>
              </p:cNvSpPr>
              <p:nvPr/>
            </p:nvSpPr>
            <p:spPr bwMode="gray">
              <a:xfrm>
                <a:off x="6948770" y="4061312"/>
                <a:ext cx="32494" cy="34119"/>
              </a:xfrm>
              <a:custGeom>
                <a:avLst/>
                <a:gdLst>
                  <a:gd name="T0" fmla="*/ 15 w 15"/>
                  <a:gd name="T1" fmla="*/ 7 h 16"/>
                  <a:gd name="T2" fmla="*/ 8 w 15"/>
                  <a:gd name="T3" fmla="*/ 15 h 16"/>
                  <a:gd name="T4" fmla="*/ 1 w 15"/>
                  <a:gd name="T5" fmla="*/ 9 h 16"/>
                  <a:gd name="T6" fmla="*/ 7 w 15"/>
                  <a:gd name="T7" fmla="*/ 1 h 16"/>
                  <a:gd name="T8" fmla="*/ 15 w 15"/>
                  <a:gd name="T9" fmla="*/ 7 h 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5" h="16">
                    <a:moveTo>
                      <a:pt x="15" y="7"/>
                    </a:moveTo>
                    <a:cubicBezTo>
                      <a:pt x="15" y="11"/>
                      <a:pt x="13" y="15"/>
                      <a:pt x="8" y="15"/>
                    </a:cubicBezTo>
                    <a:cubicBezTo>
                      <a:pt x="4" y="16"/>
                      <a:pt x="1" y="13"/>
                      <a:pt x="1" y="9"/>
                    </a:cubicBezTo>
                    <a:cubicBezTo>
                      <a:pt x="0" y="5"/>
                      <a:pt x="3" y="1"/>
                      <a:pt x="7" y="1"/>
                    </a:cubicBezTo>
                    <a:cubicBezTo>
                      <a:pt x="11" y="0"/>
                      <a:pt x="15" y="3"/>
                      <a:pt x="15" y="7"/>
                    </a:cubicBezTo>
                    <a:close/>
                  </a:path>
                </a:pathLst>
              </a:custGeom>
              <a:solidFill>
                <a:srgbClr val="005F87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362" name="Gerade Verbindung 361"/>
            <p:cNvCxnSpPr/>
            <p:nvPr/>
          </p:nvCxnSpPr>
          <p:spPr bwMode="gray">
            <a:xfrm flipH="1">
              <a:off x="627062" y="4910149"/>
              <a:ext cx="5472113" cy="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chemeClr val="accent2"/>
              </a:solidFill>
              <a:prstDash val="sysDot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3" name="Gruppieren 12"/>
          <p:cNvGrpSpPr/>
          <p:nvPr/>
        </p:nvGrpSpPr>
        <p:grpSpPr>
          <a:xfrm>
            <a:off x="627062" y="1895592"/>
            <a:ext cx="11142180" cy="4107232"/>
            <a:chOff x="627062" y="1895592"/>
            <a:chExt cx="11142180" cy="4107232"/>
          </a:xfrm>
        </p:grpSpPr>
        <p:grpSp>
          <p:nvGrpSpPr>
            <p:cNvPr id="4" name="Gruppieren 3"/>
            <p:cNvGrpSpPr/>
            <p:nvPr/>
          </p:nvGrpSpPr>
          <p:grpSpPr>
            <a:xfrm>
              <a:off x="6480045" y="1895592"/>
              <a:ext cx="5289197" cy="4107232"/>
              <a:chOff x="6480045" y="1895592"/>
              <a:chExt cx="5289197" cy="4107232"/>
            </a:xfrm>
          </p:grpSpPr>
          <p:sp>
            <p:nvSpPr>
              <p:cNvPr id="170148" name="Oval 136"/>
              <p:cNvSpPr>
                <a:spLocks noChangeArrowheads="1"/>
              </p:cNvSpPr>
              <p:nvPr/>
            </p:nvSpPr>
            <p:spPr bwMode="gray">
              <a:xfrm>
                <a:off x="10268023" y="3049126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49" name="Oval 137"/>
              <p:cNvSpPr>
                <a:spLocks noChangeArrowheads="1"/>
              </p:cNvSpPr>
              <p:nvPr/>
            </p:nvSpPr>
            <p:spPr bwMode="gray">
              <a:xfrm>
                <a:off x="8865910" y="2680320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0" name="Oval 138"/>
              <p:cNvSpPr>
                <a:spLocks noChangeArrowheads="1"/>
              </p:cNvSpPr>
              <p:nvPr/>
            </p:nvSpPr>
            <p:spPr bwMode="gray">
              <a:xfrm>
                <a:off x="8971515" y="3060499"/>
                <a:ext cx="95857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1" name="Oval 139"/>
              <p:cNvSpPr>
                <a:spLocks noChangeArrowheads="1"/>
              </p:cNvSpPr>
              <p:nvPr/>
            </p:nvSpPr>
            <p:spPr bwMode="gray">
              <a:xfrm>
                <a:off x="8800922" y="3034504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2" name="Oval 140"/>
              <p:cNvSpPr>
                <a:spLocks noChangeArrowheads="1"/>
              </p:cNvSpPr>
              <p:nvPr/>
            </p:nvSpPr>
            <p:spPr bwMode="gray">
              <a:xfrm>
                <a:off x="8862661" y="2920775"/>
                <a:ext cx="94232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3" name="Oval 141"/>
              <p:cNvSpPr>
                <a:spLocks noChangeArrowheads="1"/>
              </p:cNvSpPr>
              <p:nvPr/>
            </p:nvSpPr>
            <p:spPr bwMode="gray">
              <a:xfrm>
                <a:off x="10433742" y="3312327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4" name="Oval 142"/>
              <p:cNvSpPr>
                <a:spLocks noChangeArrowheads="1"/>
              </p:cNvSpPr>
              <p:nvPr/>
            </p:nvSpPr>
            <p:spPr bwMode="gray">
              <a:xfrm>
                <a:off x="9161605" y="3556031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5" name="Oval 143"/>
              <p:cNvSpPr>
                <a:spLocks noChangeArrowheads="1"/>
              </p:cNvSpPr>
              <p:nvPr/>
            </p:nvSpPr>
            <p:spPr bwMode="gray">
              <a:xfrm>
                <a:off x="9104741" y="3406559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6" name="Oval 144"/>
              <p:cNvSpPr>
                <a:spLocks noChangeArrowheads="1"/>
              </p:cNvSpPr>
              <p:nvPr/>
            </p:nvSpPr>
            <p:spPr bwMode="gray">
              <a:xfrm>
                <a:off x="9062498" y="3206722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8" name="Oval 146"/>
              <p:cNvSpPr>
                <a:spLocks noChangeArrowheads="1"/>
              </p:cNvSpPr>
              <p:nvPr/>
            </p:nvSpPr>
            <p:spPr bwMode="gray">
              <a:xfrm>
                <a:off x="8997511" y="2712814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59" name="Oval 147"/>
              <p:cNvSpPr>
                <a:spLocks noChangeArrowheads="1"/>
              </p:cNvSpPr>
              <p:nvPr/>
            </p:nvSpPr>
            <p:spPr bwMode="gray">
              <a:xfrm>
                <a:off x="9983701" y="2860662"/>
                <a:ext cx="92608" cy="95857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0" name="Oval 148"/>
              <p:cNvSpPr>
                <a:spLocks noChangeArrowheads="1"/>
              </p:cNvSpPr>
              <p:nvPr/>
            </p:nvSpPr>
            <p:spPr bwMode="gray">
              <a:xfrm>
                <a:off x="10295642" y="213117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1" name="Oval 149"/>
              <p:cNvSpPr>
                <a:spLocks noChangeArrowheads="1"/>
              </p:cNvSpPr>
              <p:nvPr/>
            </p:nvSpPr>
            <p:spPr bwMode="gray">
              <a:xfrm>
                <a:off x="8256649" y="290615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2" name="Oval 150"/>
              <p:cNvSpPr>
                <a:spLocks noChangeArrowheads="1"/>
              </p:cNvSpPr>
              <p:nvPr/>
            </p:nvSpPr>
            <p:spPr bwMode="gray">
              <a:xfrm>
                <a:off x="8201410" y="2620207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3" name="Oval 151"/>
              <p:cNvSpPr>
                <a:spLocks noChangeArrowheads="1"/>
              </p:cNvSpPr>
              <p:nvPr/>
            </p:nvSpPr>
            <p:spPr bwMode="gray">
              <a:xfrm>
                <a:off x="7829354" y="3039378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4" name="Oval 152"/>
              <p:cNvSpPr>
                <a:spLocks noChangeArrowheads="1"/>
              </p:cNvSpPr>
              <p:nvPr/>
            </p:nvSpPr>
            <p:spPr bwMode="gray">
              <a:xfrm>
                <a:off x="8110427" y="3648639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5" name="Oval 153"/>
              <p:cNvSpPr>
                <a:spLocks noChangeArrowheads="1"/>
              </p:cNvSpPr>
              <p:nvPr/>
            </p:nvSpPr>
            <p:spPr bwMode="gray">
              <a:xfrm>
                <a:off x="7665260" y="3778615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6" name="Oval 154"/>
              <p:cNvSpPr>
                <a:spLocks noChangeArrowheads="1"/>
              </p:cNvSpPr>
              <p:nvPr/>
            </p:nvSpPr>
            <p:spPr bwMode="gray">
              <a:xfrm>
                <a:off x="7774115" y="2641328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7" name="Freeform 155"/>
              <p:cNvSpPr>
                <a:spLocks/>
              </p:cNvSpPr>
              <p:nvPr/>
            </p:nvSpPr>
            <p:spPr bwMode="gray">
              <a:xfrm>
                <a:off x="7884594" y="2071059"/>
                <a:ext cx="100731" cy="102356"/>
              </a:xfrm>
              <a:custGeom>
                <a:avLst/>
                <a:gdLst>
                  <a:gd name="T0" fmla="*/ 46 w 48"/>
                  <a:gd name="T1" fmla="*/ 19 h 48"/>
                  <a:gd name="T2" fmla="*/ 29 w 48"/>
                  <a:gd name="T3" fmla="*/ 45 h 48"/>
                  <a:gd name="T4" fmla="*/ 3 w 48"/>
                  <a:gd name="T5" fmla="*/ 28 h 48"/>
                  <a:gd name="T6" fmla="*/ 20 w 48"/>
                  <a:gd name="T7" fmla="*/ 2 h 48"/>
                  <a:gd name="T8" fmla="*/ 46 w 48"/>
                  <a:gd name="T9" fmla="*/ 1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19"/>
                    </a:moveTo>
                    <a:cubicBezTo>
                      <a:pt x="48" y="31"/>
                      <a:pt x="41" y="43"/>
                      <a:pt x="29" y="45"/>
                    </a:cubicBezTo>
                    <a:cubicBezTo>
                      <a:pt x="17" y="48"/>
                      <a:pt x="5" y="40"/>
                      <a:pt x="3" y="28"/>
                    </a:cubicBezTo>
                    <a:cubicBezTo>
                      <a:pt x="0" y="16"/>
                      <a:pt x="8" y="5"/>
                      <a:pt x="20" y="2"/>
                    </a:cubicBezTo>
                    <a:cubicBezTo>
                      <a:pt x="32" y="0"/>
                      <a:pt x="43" y="8"/>
                      <a:pt x="46" y="19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8" name="Freeform 156"/>
              <p:cNvSpPr>
                <a:spLocks/>
              </p:cNvSpPr>
              <p:nvPr/>
            </p:nvSpPr>
            <p:spPr bwMode="gray">
              <a:xfrm>
                <a:off x="8417494" y="1960580"/>
                <a:ext cx="100731" cy="102356"/>
              </a:xfrm>
              <a:custGeom>
                <a:avLst/>
                <a:gdLst>
                  <a:gd name="T0" fmla="*/ 46 w 48"/>
                  <a:gd name="T1" fmla="*/ 19 h 48"/>
                  <a:gd name="T2" fmla="*/ 29 w 48"/>
                  <a:gd name="T3" fmla="*/ 45 h 48"/>
                  <a:gd name="T4" fmla="*/ 3 w 48"/>
                  <a:gd name="T5" fmla="*/ 28 h 48"/>
                  <a:gd name="T6" fmla="*/ 20 w 48"/>
                  <a:gd name="T7" fmla="*/ 2 h 48"/>
                  <a:gd name="T8" fmla="*/ 46 w 48"/>
                  <a:gd name="T9" fmla="*/ 1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19"/>
                    </a:moveTo>
                    <a:cubicBezTo>
                      <a:pt x="48" y="31"/>
                      <a:pt x="41" y="43"/>
                      <a:pt x="29" y="45"/>
                    </a:cubicBezTo>
                    <a:cubicBezTo>
                      <a:pt x="17" y="48"/>
                      <a:pt x="5" y="40"/>
                      <a:pt x="3" y="28"/>
                    </a:cubicBezTo>
                    <a:cubicBezTo>
                      <a:pt x="0" y="16"/>
                      <a:pt x="8" y="5"/>
                      <a:pt x="20" y="2"/>
                    </a:cubicBezTo>
                    <a:cubicBezTo>
                      <a:pt x="32" y="0"/>
                      <a:pt x="44" y="8"/>
                      <a:pt x="46" y="19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69" name="Freeform 157"/>
              <p:cNvSpPr>
                <a:spLocks/>
              </p:cNvSpPr>
              <p:nvPr/>
            </p:nvSpPr>
            <p:spPr bwMode="gray">
              <a:xfrm>
                <a:off x="10008071" y="1895592"/>
                <a:ext cx="102356" cy="100731"/>
              </a:xfrm>
              <a:custGeom>
                <a:avLst/>
                <a:gdLst>
                  <a:gd name="T0" fmla="*/ 46 w 48"/>
                  <a:gd name="T1" fmla="*/ 19 h 48"/>
                  <a:gd name="T2" fmla="*/ 28 w 48"/>
                  <a:gd name="T3" fmla="*/ 45 h 48"/>
                  <a:gd name="T4" fmla="*/ 2 w 48"/>
                  <a:gd name="T5" fmla="*/ 28 h 48"/>
                  <a:gd name="T6" fmla="*/ 20 w 48"/>
                  <a:gd name="T7" fmla="*/ 2 h 48"/>
                  <a:gd name="T8" fmla="*/ 46 w 48"/>
                  <a:gd name="T9" fmla="*/ 1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6" y="19"/>
                    </a:moveTo>
                    <a:cubicBezTo>
                      <a:pt x="48" y="31"/>
                      <a:pt x="40" y="43"/>
                      <a:pt x="28" y="45"/>
                    </a:cubicBezTo>
                    <a:cubicBezTo>
                      <a:pt x="16" y="48"/>
                      <a:pt x="5" y="40"/>
                      <a:pt x="2" y="28"/>
                    </a:cubicBezTo>
                    <a:cubicBezTo>
                      <a:pt x="0" y="16"/>
                      <a:pt x="8" y="4"/>
                      <a:pt x="20" y="2"/>
                    </a:cubicBezTo>
                    <a:cubicBezTo>
                      <a:pt x="32" y="0"/>
                      <a:pt x="43" y="7"/>
                      <a:pt x="46" y="19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70" name="Freeform 158"/>
              <p:cNvSpPr>
                <a:spLocks/>
              </p:cNvSpPr>
              <p:nvPr/>
            </p:nvSpPr>
            <p:spPr bwMode="gray">
              <a:xfrm>
                <a:off x="10342759" y="1954081"/>
                <a:ext cx="102356" cy="102356"/>
              </a:xfrm>
              <a:custGeom>
                <a:avLst/>
                <a:gdLst>
                  <a:gd name="T0" fmla="*/ 46 w 49"/>
                  <a:gd name="T1" fmla="*/ 20 h 48"/>
                  <a:gd name="T2" fmla="*/ 29 w 49"/>
                  <a:gd name="T3" fmla="*/ 46 h 48"/>
                  <a:gd name="T4" fmla="*/ 3 w 49"/>
                  <a:gd name="T5" fmla="*/ 29 h 48"/>
                  <a:gd name="T6" fmla="*/ 20 w 49"/>
                  <a:gd name="T7" fmla="*/ 3 h 48"/>
                  <a:gd name="T8" fmla="*/ 46 w 49"/>
                  <a:gd name="T9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9" h="48">
                    <a:moveTo>
                      <a:pt x="46" y="20"/>
                    </a:moveTo>
                    <a:cubicBezTo>
                      <a:pt x="49" y="32"/>
                      <a:pt x="41" y="43"/>
                      <a:pt x="29" y="46"/>
                    </a:cubicBezTo>
                    <a:cubicBezTo>
                      <a:pt x="17" y="48"/>
                      <a:pt x="5" y="41"/>
                      <a:pt x="3" y="29"/>
                    </a:cubicBezTo>
                    <a:cubicBezTo>
                      <a:pt x="0" y="17"/>
                      <a:pt x="8" y="5"/>
                      <a:pt x="20" y="3"/>
                    </a:cubicBezTo>
                    <a:cubicBezTo>
                      <a:pt x="32" y="0"/>
                      <a:pt x="44" y="8"/>
                      <a:pt x="46" y="20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89" name="Oval 177"/>
              <p:cNvSpPr>
                <a:spLocks noChangeArrowheads="1"/>
              </p:cNvSpPr>
              <p:nvPr/>
            </p:nvSpPr>
            <p:spPr bwMode="gray">
              <a:xfrm>
                <a:off x="10640078" y="266407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0" name="Oval 178"/>
              <p:cNvSpPr>
                <a:spLocks noChangeArrowheads="1"/>
              </p:cNvSpPr>
              <p:nvPr/>
            </p:nvSpPr>
            <p:spPr bwMode="gray">
              <a:xfrm>
                <a:off x="10584838" y="2267648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196" name="Oval 184"/>
              <p:cNvSpPr>
                <a:spLocks noChangeArrowheads="1"/>
              </p:cNvSpPr>
              <p:nvPr/>
            </p:nvSpPr>
            <p:spPr bwMode="gray">
              <a:xfrm>
                <a:off x="7795236" y="1958955"/>
                <a:ext cx="94232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7" name="Oval 195"/>
              <p:cNvSpPr>
                <a:spLocks noChangeArrowheads="1"/>
              </p:cNvSpPr>
              <p:nvPr/>
            </p:nvSpPr>
            <p:spPr bwMode="gray">
              <a:xfrm>
                <a:off x="11265586" y="4131174"/>
                <a:ext cx="92608" cy="95857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8" name="Oval 196"/>
              <p:cNvSpPr>
                <a:spLocks noChangeArrowheads="1"/>
              </p:cNvSpPr>
              <p:nvPr/>
            </p:nvSpPr>
            <p:spPr bwMode="gray">
              <a:xfrm>
                <a:off x="11470297" y="4681945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09" name="Oval 197"/>
              <p:cNvSpPr>
                <a:spLocks noChangeArrowheads="1"/>
              </p:cNvSpPr>
              <p:nvPr/>
            </p:nvSpPr>
            <p:spPr bwMode="gray">
              <a:xfrm>
                <a:off x="11004010" y="4020694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10" name="Oval 198"/>
              <p:cNvSpPr>
                <a:spLocks noChangeArrowheads="1"/>
              </p:cNvSpPr>
              <p:nvPr/>
            </p:nvSpPr>
            <p:spPr bwMode="gray">
              <a:xfrm>
                <a:off x="10898404" y="3370816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20" name="Oval 208"/>
              <p:cNvSpPr>
                <a:spLocks noChangeArrowheads="1"/>
              </p:cNvSpPr>
              <p:nvPr/>
            </p:nvSpPr>
            <p:spPr bwMode="gray">
              <a:xfrm>
                <a:off x="11676634" y="4032067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221" name="Oval 209"/>
              <p:cNvSpPr>
                <a:spLocks noChangeArrowheads="1"/>
              </p:cNvSpPr>
              <p:nvPr/>
            </p:nvSpPr>
            <p:spPr bwMode="gray">
              <a:xfrm>
                <a:off x="10571841" y="3647014"/>
                <a:ext cx="94232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3" name="Oval 217"/>
              <p:cNvSpPr>
                <a:spLocks noChangeArrowheads="1"/>
              </p:cNvSpPr>
              <p:nvPr/>
            </p:nvSpPr>
            <p:spPr bwMode="gray">
              <a:xfrm>
                <a:off x="11535286" y="4919151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4" name="Oval 218"/>
              <p:cNvSpPr>
                <a:spLocks noChangeArrowheads="1"/>
              </p:cNvSpPr>
              <p:nvPr/>
            </p:nvSpPr>
            <p:spPr bwMode="gray">
              <a:xfrm>
                <a:off x="11346821" y="5643765"/>
                <a:ext cx="94232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9997" name="Oval 221"/>
              <p:cNvSpPr>
                <a:spLocks noChangeArrowheads="1"/>
              </p:cNvSpPr>
              <p:nvPr/>
            </p:nvSpPr>
            <p:spPr bwMode="gray">
              <a:xfrm>
                <a:off x="11657138" y="5689257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4" name="Oval 228"/>
              <p:cNvSpPr>
                <a:spLocks noChangeArrowheads="1"/>
              </p:cNvSpPr>
              <p:nvPr/>
            </p:nvSpPr>
            <p:spPr bwMode="gray">
              <a:xfrm>
                <a:off x="11171354" y="2319638"/>
                <a:ext cx="94232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05" name="Oval 229"/>
              <p:cNvSpPr>
                <a:spLocks noChangeArrowheads="1"/>
              </p:cNvSpPr>
              <p:nvPr/>
            </p:nvSpPr>
            <p:spPr bwMode="gray">
              <a:xfrm>
                <a:off x="11470298" y="2766429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1" name="Oval 235"/>
              <p:cNvSpPr>
                <a:spLocks noChangeArrowheads="1"/>
              </p:cNvSpPr>
              <p:nvPr/>
            </p:nvSpPr>
            <p:spPr bwMode="gray">
              <a:xfrm>
                <a:off x="10765180" y="1942709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4" name="Oval 242"/>
              <p:cNvSpPr>
                <a:spLocks noChangeArrowheads="1"/>
              </p:cNvSpPr>
              <p:nvPr/>
            </p:nvSpPr>
            <p:spPr bwMode="gray">
              <a:xfrm>
                <a:off x="6875658" y="5910216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5" name="Oval 243"/>
              <p:cNvSpPr>
                <a:spLocks noChangeArrowheads="1"/>
              </p:cNvSpPr>
              <p:nvPr/>
            </p:nvSpPr>
            <p:spPr bwMode="gray">
              <a:xfrm>
                <a:off x="7057624" y="5630768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6" name="Oval 244"/>
              <p:cNvSpPr>
                <a:spLocks noChangeArrowheads="1"/>
              </p:cNvSpPr>
              <p:nvPr/>
            </p:nvSpPr>
            <p:spPr bwMode="gray">
              <a:xfrm>
                <a:off x="6589712" y="5723376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7" name="Oval 245"/>
              <p:cNvSpPr>
                <a:spLocks noChangeArrowheads="1"/>
              </p:cNvSpPr>
              <p:nvPr/>
            </p:nvSpPr>
            <p:spPr bwMode="gray">
              <a:xfrm>
                <a:off x="6903278" y="4990638"/>
                <a:ext cx="92608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9" name="Oval 250"/>
              <p:cNvSpPr>
                <a:spLocks noChangeArrowheads="1"/>
              </p:cNvSpPr>
              <p:nvPr/>
            </p:nvSpPr>
            <p:spPr bwMode="gray">
              <a:xfrm>
                <a:off x="7660387" y="298576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10" name="Oval 251"/>
              <p:cNvSpPr>
                <a:spLocks noChangeArrowheads="1"/>
              </p:cNvSpPr>
              <p:nvPr/>
            </p:nvSpPr>
            <p:spPr bwMode="gray">
              <a:xfrm>
                <a:off x="7605147" y="2589337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39" name="Oval 256"/>
              <p:cNvSpPr>
                <a:spLocks noChangeArrowheads="1"/>
              </p:cNvSpPr>
              <p:nvPr/>
            </p:nvSpPr>
            <p:spPr bwMode="gray">
              <a:xfrm>
                <a:off x="7341946" y="4194537"/>
                <a:ext cx="92608" cy="95857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0" name="Oval 257"/>
              <p:cNvSpPr>
                <a:spLocks noChangeArrowheads="1"/>
              </p:cNvSpPr>
              <p:nvPr/>
            </p:nvSpPr>
            <p:spPr bwMode="gray">
              <a:xfrm>
                <a:off x="7249339" y="2538972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4" name="Oval 261"/>
              <p:cNvSpPr>
                <a:spLocks noChangeArrowheads="1"/>
              </p:cNvSpPr>
              <p:nvPr/>
            </p:nvSpPr>
            <p:spPr bwMode="gray">
              <a:xfrm>
                <a:off x="7051126" y="314498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45" name="Freeform 262"/>
              <p:cNvSpPr>
                <a:spLocks/>
              </p:cNvSpPr>
              <p:nvPr/>
            </p:nvSpPr>
            <p:spPr bwMode="gray">
              <a:xfrm>
                <a:off x="6841540" y="2460987"/>
                <a:ext cx="100731" cy="100731"/>
              </a:xfrm>
              <a:custGeom>
                <a:avLst/>
                <a:gdLst>
                  <a:gd name="T0" fmla="*/ 45 w 48"/>
                  <a:gd name="T1" fmla="*/ 20 h 48"/>
                  <a:gd name="T2" fmla="*/ 28 w 48"/>
                  <a:gd name="T3" fmla="*/ 46 h 48"/>
                  <a:gd name="T4" fmla="*/ 2 w 48"/>
                  <a:gd name="T5" fmla="*/ 29 h 48"/>
                  <a:gd name="T6" fmla="*/ 19 w 48"/>
                  <a:gd name="T7" fmla="*/ 3 h 48"/>
                  <a:gd name="T8" fmla="*/ 45 w 48"/>
                  <a:gd name="T9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5" y="20"/>
                    </a:moveTo>
                    <a:cubicBezTo>
                      <a:pt x="48" y="32"/>
                      <a:pt x="40" y="43"/>
                      <a:pt x="28" y="46"/>
                    </a:cubicBezTo>
                    <a:cubicBezTo>
                      <a:pt x="16" y="48"/>
                      <a:pt x="4" y="41"/>
                      <a:pt x="2" y="29"/>
                    </a:cubicBezTo>
                    <a:cubicBezTo>
                      <a:pt x="0" y="17"/>
                      <a:pt x="7" y="5"/>
                      <a:pt x="19" y="3"/>
                    </a:cubicBezTo>
                    <a:cubicBezTo>
                      <a:pt x="31" y="0"/>
                      <a:pt x="43" y="8"/>
                      <a:pt x="45" y="20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0" name="Oval 267"/>
              <p:cNvSpPr>
                <a:spLocks noChangeArrowheads="1"/>
              </p:cNvSpPr>
              <p:nvPr/>
            </p:nvSpPr>
            <p:spPr bwMode="gray">
              <a:xfrm>
                <a:off x="7294830" y="2906153"/>
                <a:ext cx="95857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3" name="Oval 270"/>
              <p:cNvSpPr>
                <a:spLocks noChangeArrowheads="1"/>
              </p:cNvSpPr>
              <p:nvPr/>
            </p:nvSpPr>
            <p:spPr bwMode="gray">
              <a:xfrm>
                <a:off x="6973140" y="2759931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4254" name="Oval 271"/>
              <p:cNvSpPr>
                <a:spLocks noChangeArrowheads="1"/>
              </p:cNvSpPr>
              <p:nvPr/>
            </p:nvSpPr>
            <p:spPr bwMode="gray">
              <a:xfrm>
                <a:off x="7202222" y="3731499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8" name="Oval 275"/>
              <p:cNvSpPr>
                <a:spLocks noChangeArrowheads="1"/>
              </p:cNvSpPr>
              <p:nvPr/>
            </p:nvSpPr>
            <p:spPr bwMode="gray">
              <a:xfrm>
                <a:off x="7156731" y="4041815"/>
                <a:ext cx="94232" cy="95857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0019" name="Oval 276"/>
              <p:cNvSpPr>
                <a:spLocks noChangeArrowheads="1"/>
              </p:cNvSpPr>
              <p:nvPr/>
            </p:nvSpPr>
            <p:spPr bwMode="gray">
              <a:xfrm>
                <a:off x="7104741" y="3476421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3" name="Oval 276"/>
              <p:cNvSpPr>
                <a:spLocks noChangeArrowheads="1"/>
              </p:cNvSpPr>
              <p:nvPr/>
            </p:nvSpPr>
            <p:spPr bwMode="gray">
              <a:xfrm>
                <a:off x="6526349" y="3476421"/>
                <a:ext cx="94232" cy="94232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5" name="Oval 261"/>
              <p:cNvSpPr>
                <a:spLocks noChangeArrowheads="1"/>
              </p:cNvSpPr>
              <p:nvPr/>
            </p:nvSpPr>
            <p:spPr bwMode="gray">
              <a:xfrm>
                <a:off x="6480045" y="3144983"/>
                <a:ext cx="92608" cy="92608"/>
              </a:xfrm>
              <a:prstGeom prst="ellipse">
                <a:avLst/>
              </a:pr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86" name="Freeform 262"/>
              <p:cNvSpPr>
                <a:spLocks/>
              </p:cNvSpPr>
              <p:nvPr/>
            </p:nvSpPr>
            <p:spPr bwMode="gray">
              <a:xfrm>
                <a:off x="6498729" y="2460987"/>
                <a:ext cx="100731" cy="100731"/>
              </a:xfrm>
              <a:custGeom>
                <a:avLst/>
                <a:gdLst>
                  <a:gd name="T0" fmla="*/ 45 w 48"/>
                  <a:gd name="T1" fmla="*/ 20 h 48"/>
                  <a:gd name="T2" fmla="*/ 28 w 48"/>
                  <a:gd name="T3" fmla="*/ 46 h 48"/>
                  <a:gd name="T4" fmla="*/ 2 w 48"/>
                  <a:gd name="T5" fmla="*/ 29 h 48"/>
                  <a:gd name="T6" fmla="*/ 19 w 48"/>
                  <a:gd name="T7" fmla="*/ 3 h 48"/>
                  <a:gd name="T8" fmla="*/ 45 w 48"/>
                  <a:gd name="T9" fmla="*/ 2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8" h="48">
                    <a:moveTo>
                      <a:pt x="45" y="20"/>
                    </a:moveTo>
                    <a:cubicBezTo>
                      <a:pt x="48" y="32"/>
                      <a:pt x="40" y="43"/>
                      <a:pt x="28" y="46"/>
                    </a:cubicBezTo>
                    <a:cubicBezTo>
                      <a:pt x="16" y="48"/>
                      <a:pt x="4" y="41"/>
                      <a:pt x="2" y="29"/>
                    </a:cubicBezTo>
                    <a:cubicBezTo>
                      <a:pt x="0" y="17"/>
                      <a:pt x="7" y="5"/>
                      <a:pt x="19" y="3"/>
                    </a:cubicBezTo>
                    <a:cubicBezTo>
                      <a:pt x="31" y="0"/>
                      <a:pt x="43" y="8"/>
                      <a:pt x="45" y="20"/>
                    </a:cubicBezTo>
                    <a:close/>
                  </a:path>
                </a:pathLst>
              </a:custGeom>
              <a:solidFill>
                <a:srgbClr val="32A0A0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8" name="Gruppieren 7"/>
            <p:cNvGrpSpPr/>
            <p:nvPr/>
          </p:nvGrpSpPr>
          <p:grpSpPr>
            <a:xfrm>
              <a:off x="627062" y="3484412"/>
              <a:ext cx="5472113" cy="1273763"/>
              <a:chOff x="627062" y="3484412"/>
              <a:chExt cx="5472113" cy="1273763"/>
            </a:xfrm>
          </p:grpSpPr>
          <p:grpSp>
            <p:nvGrpSpPr>
              <p:cNvPr id="201" name="Gruppieren 200"/>
              <p:cNvGrpSpPr/>
              <p:nvPr/>
            </p:nvGrpSpPr>
            <p:grpSpPr bwMode="gray">
              <a:xfrm>
                <a:off x="2200842" y="3636386"/>
                <a:ext cx="1121801" cy="1121789"/>
                <a:chOff x="2860287" y="3575475"/>
                <a:chExt cx="1005664" cy="1005653"/>
              </a:xfrm>
            </p:grpSpPr>
            <p:sp>
              <p:nvSpPr>
                <p:cNvPr id="441" name="Oval 90"/>
                <p:cNvSpPr>
                  <a:spLocks noChangeArrowheads="1"/>
                </p:cNvSpPr>
                <p:nvPr/>
              </p:nvSpPr>
              <p:spPr bwMode="gray">
                <a:xfrm>
                  <a:off x="2860287" y="3575475"/>
                  <a:ext cx="1005664" cy="1005653"/>
                </a:xfrm>
                <a:prstGeom prst="ellipse">
                  <a:avLst/>
                </a:prstGeom>
                <a:noFill/>
                <a:ln w="38100">
                  <a:solidFill>
                    <a:srgbClr val="32A0A0"/>
                  </a:solidFill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2" name="Oval 90"/>
                <p:cNvSpPr>
                  <a:spLocks noChangeArrowheads="1"/>
                </p:cNvSpPr>
                <p:nvPr/>
              </p:nvSpPr>
              <p:spPr bwMode="gray">
                <a:xfrm>
                  <a:off x="3204490" y="3769684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3" name="Oval 90"/>
                <p:cNvSpPr>
                  <a:spLocks noChangeArrowheads="1"/>
                </p:cNvSpPr>
                <p:nvPr/>
              </p:nvSpPr>
              <p:spPr bwMode="gray">
                <a:xfrm>
                  <a:off x="3390587" y="3875013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4" name="Oval 90"/>
                <p:cNvSpPr>
                  <a:spLocks noChangeArrowheads="1"/>
                </p:cNvSpPr>
                <p:nvPr/>
              </p:nvSpPr>
              <p:spPr bwMode="gray">
                <a:xfrm>
                  <a:off x="3390587" y="3726162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5" name="Oval 90"/>
                <p:cNvSpPr>
                  <a:spLocks noChangeArrowheads="1"/>
                </p:cNvSpPr>
                <p:nvPr/>
              </p:nvSpPr>
              <p:spPr bwMode="gray">
                <a:xfrm>
                  <a:off x="3204490" y="4186337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6" name="Oval 90"/>
                <p:cNvSpPr>
                  <a:spLocks noChangeArrowheads="1"/>
                </p:cNvSpPr>
                <p:nvPr/>
              </p:nvSpPr>
              <p:spPr bwMode="gray">
                <a:xfrm>
                  <a:off x="3424419" y="4142815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7" name="Oval 90"/>
                <p:cNvSpPr>
                  <a:spLocks noChangeArrowheads="1"/>
                </p:cNvSpPr>
                <p:nvPr/>
              </p:nvSpPr>
              <p:spPr bwMode="gray">
                <a:xfrm>
                  <a:off x="3060079" y="4132416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8" name="Oval 90"/>
                <p:cNvSpPr>
                  <a:spLocks noChangeArrowheads="1"/>
                </p:cNvSpPr>
                <p:nvPr/>
              </p:nvSpPr>
              <p:spPr bwMode="gray">
                <a:xfrm>
                  <a:off x="3125723" y="3999524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9" name="Oval 90"/>
                <p:cNvSpPr>
                  <a:spLocks noChangeArrowheads="1"/>
                </p:cNvSpPr>
                <p:nvPr/>
              </p:nvSpPr>
              <p:spPr bwMode="gray">
                <a:xfrm>
                  <a:off x="2925583" y="3930759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0" name="Oval 90"/>
                <p:cNvSpPr>
                  <a:spLocks noChangeArrowheads="1"/>
                </p:cNvSpPr>
                <p:nvPr/>
              </p:nvSpPr>
              <p:spPr bwMode="gray">
                <a:xfrm>
                  <a:off x="3645663" y="3875013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1" name="Oval 90"/>
                <p:cNvSpPr>
                  <a:spLocks noChangeArrowheads="1"/>
                </p:cNvSpPr>
                <p:nvPr/>
              </p:nvSpPr>
              <p:spPr bwMode="gray">
                <a:xfrm>
                  <a:off x="3459566" y="3988439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2" name="Oval 90"/>
                <p:cNvSpPr>
                  <a:spLocks noChangeArrowheads="1"/>
                </p:cNvSpPr>
                <p:nvPr/>
              </p:nvSpPr>
              <p:spPr bwMode="gray">
                <a:xfrm>
                  <a:off x="3251620" y="3873295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3" name="Oval 90"/>
                <p:cNvSpPr>
                  <a:spLocks noChangeArrowheads="1"/>
                </p:cNvSpPr>
                <p:nvPr/>
              </p:nvSpPr>
              <p:spPr bwMode="gray">
                <a:xfrm>
                  <a:off x="3599561" y="4275245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4" name="Oval 90"/>
                <p:cNvSpPr>
                  <a:spLocks noChangeArrowheads="1"/>
                </p:cNvSpPr>
                <p:nvPr/>
              </p:nvSpPr>
              <p:spPr bwMode="gray">
                <a:xfrm>
                  <a:off x="3436307" y="4399274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5" name="Oval 90"/>
                <p:cNvSpPr>
                  <a:spLocks noChangeArrowheads="1"/>
                </p:cNvSpPr>
                <p:nvPr/>
              </p:nvSpPr>
              <p:spPr bwMode="gray">
                <a:xfrm>
                  <a:off x="3348774" y="4261374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6" name="Oval 90"/>
                <p:cNvSpPr>
                  <a:spLocks noChangeArrowheads="1"/>
                </p:cNvSpPr>
                <p:nvPr/>
              </p:nvSpPr>
              <p:spPr bwMode="gray">
                <a:xfrm>
                  <a:off x="3599943" y="3988439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7" name="Oval 90"/>
                <p:cNvSpPr>
                  <a:spLocks noChangeArrowheads="1"/>
                </p:cNvSpPr>
                <p:nvPr/>
              </p:nvSpPr>
              <p:spPr bwMode="gray">
                <a:xfrm>
                  <a:off x="3645663" y="4142815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8" name="Oval 90"/>
                <p:cNvSpPr>
                  <a:spLocks noChangeArrowheads="1"/>
                </p:cNvSpPr>
                <p:nvPr/>
              </p:nvSpPr>
              <p:spPr bwMode="gray">
                <a:xfrm>
                  <a:off x="2925583" y="4155276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9" name="Oval 90"/>
                <p:cNvSpPr>
                  <a:spLocks noChangeArrowheads="1"/>
                </p:cNvSpPr>
                <p:nvPr/>
              </p:nvSpPr>
              <p:spPr bwMode="gray">
                <a:xfrm>
                  <a:off x="3079315" y="4331167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0" name="Oval 90"/>
                <p:cNvSpPr>
                  <a:spLocks noChangeArrowheads="1"/>
                </p:cNvSpPr>
                <p:nvPr/>
              </p:nvSpPr>
              <p:spPr bwMode="gray">
                <a:xfrm>
                  <a:off x="3204490" y="4368944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1" name="Oval 90"/>
                <p:cNvSpPr>
                  <a:spLocks noChangeArrowheads="1"/>
                </p:cNvSpPr>
                <p:nvPr/>
              </p:nvSpPr>
              <p:spPr bwMode="gray">
                <a:xfrm>
                  <a:off x="3288671" y="3637976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2" name="Oval 90"/>
                <p:cNvSpPr>
                  <a:spLocks noChangeArrowheads="1"/>
                </p:cNvSpPr>
                <p:nvPr/>
              </p:nvSpPr>
              <p:spPr bwMode="gray">
                <a:xfrm>
                  <a:off x="3069223" y="3847871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3" name="Oval 90"/>
                <p:cNvSpPr>
                  <a:spLocks noChangeArrowheads="1"/>
                </p:cNvSpPr>
                <p:nvPr/>
              </p:nvSpPr>
              <p:spPr bwMode="gray">
                <a:xfrm>
                  <a:off x="3553841" y="3755981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4" name="Oval 90"/>
                <p:cNvSpPr>
                  <a:spLocks noChangeArrowheads="1"/>
                </p:cNvSpPr>
                <p:nvPr/>
              </p:nvSpPr>
              <p:spPr bwMode="gray">
                <a:xfrm>
                  <a:off x="3102175" y="3693349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5" name="Oval 90"/>
                <p:cNvSpPr>
                  <a:spLocks noChangeArrowheads="1"/>
                </p:cNvSpPr>
                <p:nvPr/>
              </p:nvSpPr>
              <p:spPr bwMode="gray">
                <a:xfrm>
                  <a:off x="3317017" y="4018945"/>
                  <a:ext cx="92204" cy="92200"/>
                </a:xfrm>
                <a:prstGeom prst="ellipse">
                  <a:avLst/>
                </a:prstGeom>
                <a:solidFill>
                  <a:srgbClr val="32A0A0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500" name="TextBox 6"/>
              <p:cNvSpPr txBox="1"/>
              <p:nvPr/>
            </p:nvSpPr>
            <p:spPr bwMode="gray">
              <a:xfrm>
                <a:off x="627062" y="3625328"/>
                <a:ext cx="1566174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lvl="1" eaLnBrk="0" hangingPunct="0">
                  <a:spcBef>
                    <a:spcPts val="660"/>
                  </a:spcBef>
                  <a:buClr>
                    <a:schemeClr val="accent1"/>
                  </a:buClr>
                </a:pPr>
                <a:r>
                  <a:rPr lang="en-US" sz="1600" b="1" dirty="0" smtClean="0">
                    <a:solidFill>
                      <a:srgbClr val="32A0A0"/>
                    </a:solidFill>
                  </a:rPr>
                  <a:t>PM2.5 – 10</a:t>
                </a:r>
                <a:r>
                  <a:rPr lang="en-US" sz="1600" b="1" dirty="0">
                    <a:solidFill>
                      <a:srgbClr val="32A0A0"/>
                    </a:solidFill>
                  </a:rPr>
                  <a:t/>
                </a:r>
                <a:br>
                  <a:rPr lang="en-US" sz="1600" b="1" dirty="0">
                    <a:solidFill>
                      <a:srgbClr val="32A0A0"/>
                    </a:solidFill>
                  </a:rPr>
                </a:br>
                <a:r>
                  <a:rPr lang="en-US" sz="1600" dirty="0" smtClean="0">
                    <a:solidFill>
                      <a:srgbClr val="32A0A0"/>
                    </a:solidFill>
                  </a:rPr>
                  <a:t>2.5 – 10 </a:t>
                </a:r>
                <a:r>
                  <a:rPr lang="el-GR" sz="1600" dirty="0" smtClean="0">
                    <a:solidFill>
                      <a:srgbClr val="32A0A0"/>
                    </a:solidFill>
                  </a:rPr>
                  <a:t>μ</a:t>
                </a:r>
                <a:r>
                  <a:rPr lang="en-US" sz="1600" dirty="0" smtClean="0">
                    <a:solidFill>
                      <a:srgbClr val="32A0A0"/>
                    </a:solidFill>
                  </a:rPr>
                  <a:t>m</a:t>
                </a:r>
                <a:endParaRPr lang="en-US" sz="1600" dirty="0">
                  <a:solidFill>
                    <a:srgbClr val="32A0A0"/>
                  </a:solidFill>
                </a:endParaRPr>
              </a:p>
            </p:txBody>
          </p:sp>
          <p:sp>
            <p:nvSpPr>
              <p:cNvPr id="503" name="TextBox 6"/>
              <p:cNvSpPr txBox="1"/>
              <p:nvPr/>
            </p:nvSpPr>
            <p:spPr bwMode="gray">
              <a:xfrm>
                <a:off x="3514724" y="3625328"/>
                <a:ext cx="2584451" cy="492443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marL="0" lvl="1" eaLnBrk="0" hangingPunct="0">
                  <a:spcBef>
                    <a:spcPts val="660"/>
                  </a:spcBef>
                  <a:buClr>
                    <a:schemeClr val="accent1"/>
                  </a:buClr>
                </a:pPr>
                <a:r>
                  <a:rPr lang="ru-RU" sz="1600" dirty="0" smtClean="0">
                    <a:solidFill>
                      <a:schemeClr val="tx1"/>
                    </a:solidFill>
                  </a:rPr>
                  <a:t>Блокируются во рту и горле</a:t>
                </a:r>
                <a:endParaRPr lang="en-US" sz="1600" dirty="0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363" name="Gerade Verbindung 362"/>
              <p:cNvCxnSpPr/>
              <p:nvPr/>
            </p:nvCxnSpPr>
            <p:spPr bwMode="gray">
              <a:xfrm flipH="1">
                <a:off x="627062" y="3484412"/>
                <a:ext cx="5472113" cy="0"/>
              </a:xfrm>
              <a:prstGeom prst="line">
                <a:avLst/>
              </a:prstGeom>
              <a:solidFill>
                <a:schemeClr val="tx2"/>
              </a:solidFill>
              <a:ln w="19050" cap="flat" cmpd="sng" algn="ctr">
                <a:solidFill>
                  <a:schemeClr val="accent2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blurRad="63500"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</p:spTree>
    <p:custDataLst>
      <p:tags r:id="rId2"/>
    </p:custDataLst>
    <p:extLst>
      <p:ext uri="{BB962C8B-B14F-4D97-AF65-F5344CB8AC3E}">
        <p14:creationId xmlns:p14="http://schemas.microsoft.com/office/powerpoint/2010/main" val="7781301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18781882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Линейка датчиков мелкой пыли</a:t>
            </a:r>
            <a:endParaRPr lang="en-US" dirty="0"/>
          </a:p>
        </p:txBody>
      </p:sp>
      <p:sp>
        <p:nvSpPr>
          <p:cNvPr id="33" name="TextBox 6"/>
          <p:cNvSpPr txBox="1"/>
          <p:nvPr/>
        </p:nvSpPr>
        <p:spPr bwMode="gray">
          <a:xfrm>
            <a:off x="627062" y="1559030"/>
            <a:ext cx="3366037" cy="705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2400" dirty="0" smtClean="0">
                <a:solidFill>
                  <a:srgbClr val="00646E"/>
                </a:solidFill>
              </a:rPr>
              <a:t>QSA2700</a:t>
            </a: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dirty="0" smtClean="0">
                <a:solidFill>
                  <a:schemeClr val="tx1"/>
                </a:solidFill>
              </a:rPr>
              <a:t>Датчик без дисплея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4" name="TextBox 6"/>
          <p:cNvSpPr txBox="1"/>
          <p:nvPr/>
        </p:nvSpPr>
        <p:spPr bwMode="gray">
          <a:xfrm>
            <a:off x="4488387" y="1559030"/>
            <a:ext cx="3366037" cy="11644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2400" dirty="0" smtClean="0">
                <a:solidFill>
                  <a:srgbClr val="00646E"/>
                </a:solidFill>
              </a:rPr>
              <a:t>QSA2700D</a:t>
            </a: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dirty="0" smtClean="0">
                <a:solidFill>
                  <a:schemeClr val="tx1"/>
                </a:solidFill>
              </a:rPr>
              <a:t>Датчик с дисплеем</a:t>
            </a:r>
            <a:endParaRPr lang="en-US" sz="1600" dirty="0">
              <a:solidFill>
                <a:schemeClr val="tx1"/>
              </a:solidFill>
            </a:endParaRP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endParaRPr lang="en-US" sz="2400" dirty="0">
              <a:solidFill>
                <a:srgbClr val="00646E"/>
              </a:solidFill>
            </a:endParaRPr>
          </a:p>
        </p:txBody>
      </p:sp>
      <p:sp>
        <p:nvSpPr>
          <p:cNvPr id="35" name="TextBox 6"/>
          <p:cNvSpPr txBox="1"/>
          <p:nvPr/>
        </p:nvSpPr>
        <p:spPr bwMode="gray">
          <a:xfrm>
            <a:off x="8349713" y="1559030"/>
            <a:ext cx="3366037" cy="7053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en-US" sz="2400" dirty="0" smtClean="0">
                <a:solidFill>
                  <a:srgbClr val="00646E"/>
                </a:solidFill>
              </a:rPr>
              <a:t>AQS2700</a:t>
            </a:r>
          </a:p>
          <a:p>
            <a:pPr marL="0" lvl="1" eaLnBrk="0" hangingPunct="0">
              <a:spcBef>
                <a:spcPts val="660"/>
              </a:spcBef>
              <a:buClr>
                <a:schemeClr val="accent1"/>
              </a:buClr>
            </a:pPr>
            <a:r>
              <a:rPr lang="ru-RU" sz="1600" dirty="0" smtClean="0">
                <a:solidFill>
                  <a:schemeClr val="tx1"/>
                </a:solidFill>
              </a:rPr>
              <a:t>Сменный модуль для замены</a:t>
            </a:r>
            <a:endParaRPr lang="en-US" sz="1600" dirty="0">
              <a:solidFill>
                <a:schemeClr val="tx1"/>
              </a:solidFill>
            </a:endParaRPr>
          </a:p>
        </p:txBody>
      </p:sp>
      <p:grpSp>
        <p:nvGrpSpPr>
          <p:cNvPr id="6" name="Gruppieren 5"/>
          <p:cNvGrpSpPr/>
          <p:nvPr/>
        </p:nvGrpSpPr>
        <p:grpSpPr bwMode="gray">
          <a:xfrm>
            <a:off x="4240743" y="1557338"/>
            <a:ext cx="3861325" cy="3906202"/>
            <a:chOff x="4240743" y="1557337"/>
            <a:chExt cx="3861325" cy="4643437"/>
          </a:xfrm>
        </p:grpSpPr>
        <p:cxnSp>
          <p:nvCxnSpPr>
            <p:cNvPr id="22" name="Gerade Verbindung 21"/>
            <p:cNvCxnSpPr/>
            <p:nvPr/>
          </p:nvCxnSpPr>
          <p:spPr bwMode="gray">
            <a:xfrm>
              <a:off x="8102068" y="1557337"/>
              <a:ext cx="0" cy="4643437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36" name="Gerade Verbindung 35"/>
            <p:cNvCxnSpPr/>
            <p:nvPr/>
          </p:nvCxnSpPr>
          <p:spPr bwMode="gray">
            <a:xfrm>
              <a:off x="4240743" y="1557337"/>
              <a:ext cx="0" cy="4643437"/>
            </a:xfrm>
            <a:prstGeom prst="line">
              <a:avLst/>
            </a:prstGeom>
            <a:solidFill>
              <a:schemeClr val="tx2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blurRad="63500"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37" name="TextBox 6"/>
          <p:cNvSpPr txBox="1"/>
          <p:nvPr/>
        </p:nvSpPr>
        <p:spPr bwMode="gray">
          <a:xfrm>
            <a:off x="0" y="5626100"/>
            <a:ext cx="12198350" cy="574675"/>
          </a:xfrm>
          <a:prstGeom prst="rect">
            <a:avLst/>
          </a:prstGeom>
          <a:gradFill>
            <a:gsLst>
              <a:gs pos="83000">
                <a:srgbClr val="0099B0"/>
              </a:gs>
              <a:gs pos="50000">
                <a:srgbClr val="009999"/>
              </a:gs>
              <a:gs pos="0">
                <a:srgbClr val="50BEBE"/>
              </a:gs>
              <a:gs pos="100000">
                <a:srgbClr val="0099CB"/>
              </a:gs>
            </a:gsLst>
            <a:lin ang="0" scaled="0"/>
          </a:gradFill>
          <a:ln w="9525">
            <a:noFill/>
            <a:miter lim="800000"/>
            <a:headEnd/>
            <a:tailEnd/>
          </a:ln>
        </p:spPr>
        <p:txBody>
          <a:bodyPr vert="horz" wrap="square" lIns="612000" tIns="0" rIns="216000" bIns="0" numCol="1" anchor="ctr" anchorCtr="0" compatLnSpc="1">
            <a:prstTxWarp prst="textNoShape">
              <a:avLst/>
            </a:prstTxWarp>
            <a:noAutofit/>
          </a:bodyPr>
          <a:lstStyle>
            <a:lvl1pPr>
              <a:spcBef>
                <a:spcPct val="0"/>
              </a:spcBef>
              <a:defRPr sz="4400" b="1" smtClean="0">
                <a:solidFill>
                  <a:srgbClr val="FFFFFF"/>
                </a:solidFill>
                <a:ea typeface="+mj-ea"/>
                <a:cs typeface="Arial" pitchFamily="34" charset="0"/>
              </a:defRPr>
            </a:lvl1pPr>
            <a:lvl2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2pPr>
            <a:lvl3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3pPr>
            <a:lvl4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4pPr>
            <a:lvl5pPr>
              <a:spcBef>
                <a:spcPct val="0"/>
              </a:spcBef>
              <a:defRPr sz="2000" b="1">
                <a:solidFill>
                  <a:schemeClr val="tx1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marL="0" lvl="1"/>
            <a:endParaRPr lang="en-US" sz="2200" dirty="0">
              <a:solidFill>
                <a:schemeClr val="bg1"/>
              </a:solidFill>
            </a:endParaRPr>
          </a:p>
        </p:txBody>
      </p:sp>
      <p:grpSp>
        <p:nvGrpSpPr>
          <p:cNvPr id="131" name="Gruppieren 130"/>
          <p:cNvGrpSpPr/>
          <p:nvPr/>
        </p:nvGrpSpPr>
        <p:grpSpPr bwMode="gray">
          <a:xfrm>
            <a:off x="4817471" y="2622620"/>
            <a:ext cx="2707868" cy="2707868"/>
            <a:chOff x="3974934" y="2108651"/>
            <a:chExt cx="1685472" cy="1685472"/>
          </a:xfrm>
        </p:grpSpPr>
        <p:sp>
          <p:nvSpPr>
            <p:cNvPr id="132" name="Abgerundetes Rechteck 131"/>
            <p:cNvSpPr/>
            <p:nvPr/>
          </p:nvSpPr>
          <p:spPr bwMode="gray">
            <a:xfrm>
              <a:off x="3974934" y="2108651"/>
              <a:ext cx="1685472" cy="1685472"/>
            </a:xfrm>
            <a:prstGeom prst="roundRect">
              <a:avLst>
                <a:gd name="adj" fmla="val 3745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 extrusionH="50800">
              <a:bevelT prst="slope"/>
              <a:extrusionClr>
                <a:schemeClr val="accent2"/>
              </a:extrusionClr>
              <a:contourClr>
                <a:schemeClr val="accent1"/>
              </a:contourClr>
            </a:sp3d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grpSp>
          <p:nvGrpSpPr>
            <p:cNvPr id="133" name="Gruppieren 132"/>
            <p:cNvGrpSpPr/>
            <p:nvPr/>
          </p:nvGrpSpPr>
          <p:grpSpPr bwMode="gray">
            <a:xfrm>
              <a:off x="4334046" y="2379254"/>
              <a:ext cx="967248" cy="729670"/>
              <a:chOff x="627061" y="3933825"/>
              <a:chExt cx="3005769" cy="2267483"/>
            </a:xfrm>
          </p:grpSpPr>
          <p:sp>
            <p:nvSpPr>
              <p:cNvPr id="148" name="Rechteck 147"/>
              <p:cNvSpPr/>
              <p:nvPr/>
            </p:nvSpPr>
            <p:spPr bwMode="gray">
              <a:xfrm>
                <a:off x="627061" y="3933825"/>
                <a:ext cx="3005769" cy="2267483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72000" tIns="72000" rIns="72000" bIns="72000" rtlCol="0" anchor="t"/>
              <a:lstStyle/>
              <a:p>
                <a:r>
                  <a:rPr lang="en-US" sz="800" dirty="0" smtClean="0">
                    <a:solidFill>
                      <a:schemeClr val="bg1"/>
                    </a:solidFill>
                  </a:rPr>
                  <a:t>PM2.5</a:t>
                </a:r>
              </a:p>
            </p:txBody>
          </p:sp>
          <p:sp>
            <p:nvSpPr>
              <p:cNvPr id="149" name="Rechteck 148"/>
              <p:cNvSpPr/>
              <p:nvPr/>
            </p:nvSpPr>
            <p:spPr bwMode="gray">
              <a:xfrm>
                <a:off x="627061" y="5622348"/>
                <a:ext cx="3005769" cy="578960"/>
              </a:xfrm>
              <a:prstGeom prst="rect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r>
                  <a:rPr lang="en-US" sz="1200" dirty="0">
                    <a:solidFill>
                      <a:schemeClr val="tx1"/>
                    </a:solidFill>
                  </a:rPr>
                  <a:t>Unhealthy</a:t>
                </a:r>
              </a:p>
            </p:txBody>
          </p:sp>
          <p:sp>
            <p:nvSpPr>
              <p:cNvPr id="150" name="Rechteck 149"/>
              <p:cNvSpPr/>
              <p:nvPr/>
            </p:nvSpPr>
            <p:spPr bwMode="gray">
              <a:xfrm>
                <a:off x="627061" y="4399984"/>
                <a:ext cx="3005769" cy="5789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r>
                  <a:rPr lang="en-US" sz="3600" dirty="0" smtClean="0">
                    <a:solidFill>
                      <a:schemeClr val="bg1"/>
                    </a:solidFill>
                  </a:rPr>
                  <a:t>45</a:t>
                </a:r>
                <a:r>
                  <a:rPr lang="el-GR" sz="1100" dirty="0" smtClean="0">
                    <a:solidFill>
                      <a:schemeClr val="bg1"/>
                    </a:solidFill>
                  </a:rPr>
                  <a:t>μ</a:t>
                </a:r>
                <a:r>
                  <a:rPr lang="de-DE" sz="1100" dirty="0" smtClean="0">
                    <a:solidFill>
                      <a:schemeClr val="bg1"/>
                    </a:solidFill>
                  </a:rPr>
                  <a:t>g/m</a:t>
                </a:r>
                <a:r>
                  <a:rPr lang="de-DE" sz="1100" baseline="30000" dirty="0" smtClean="0">
                    <a:solidFill>
                      <a:schemeClr val="bg1"/>
                    </a:solidFill>
                  </a:rPr>
                  <a:t>3</a:t>
                </a:r>
                <a:endParaRPr lang="en-US" sz="1100" baseline="30000" dirty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151" name="Gruppieren 150"/>
              <p:cNvGrpSpPr/>
              <p:nvPr/>
            </p:nvGrpSpPr>
            <p:grpSpPr bwMode="gray">
              <a:xfrm>
                <a:off x="732623" y="5271752"/>
                <a:ext cx="2794645" cy="207465"/>
                <a:chOff x="734273" y="2866536"/>
                <a:chExt cx="2838334" cy="210708"/>
              </a:xfrm>
            </p:grpSpPr>
            <p:sp>
              <p:nvSpPr>
                <p:cNvPr id="152" name="Ellipse 151"/>
                <p:cNvSpPr/>
                <p:nvPr/>
              </p:nvSpPr>
              <p:spPr bwMode="gray">
                <a:xfrm flipV="1">
                  <a:off x="7342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3" name="Ellipse 152"/>
                <p:cNvSpPr/>
                <p:nvPr/>
              </p:nvSpPr>
              <p:spPr bwMode="gray">
                <a:xfrm flipV="1">
                  <a:off x="7890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4" name="Ellipse 153"/>
                <p:cNvSpPr/>
                <p:nvPr/>
              </p:nvSpPr>
              <p:spPr bwMode="gray">
                <a:xfrm flipV="1">
                  <a:off x="8438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5" name="Ellipse 154"/>
                <p:cNvSpPr/>
                <p:nvPr/>
              </p:nvSpPr>
              <p:spPr bwMode="gray">
                <a:xfrm flipV="1">
                  <a:off x="8986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6" name="Ellipse 155"/>
                <p:cNvSpPr/>
                <p:nvPr/>
              </p:nvSpPr>
              <p:spPr bwMode="gray">
                <a:xfrm flipV="1">
                  <a:off x="9534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7" name="Ellipse 156"/>
                <p:cNvSpPr/>
                <p:nvPr/>
              </p:nvSpPr>
              <p:spPr bwMode="gray">
                <a:xfrm flipV="1">
                  <a:off x="10082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8" name="Ellipse 157"/>
                <p:cNvSpPr/>
                <p:nvPr/>
              </p:nvSpPr>
              <p:spPr bwMode="gray">
                <a:xfrm flipV="1">
                  <a:off x="1063071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59" name="Ellipse 158"/>
                <p:cNvSpPr/>
                <p:nvPr/>
              </p:nvSpPr>
              <p:spPr bwMode="gray">
                <a:xfrm flipV="1">
                  <a:off x="11178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0" name="Ellipse 159"/>
                <p:cNvSpPr/>
                <p:nvPr/>
              </p:nvSpPr>
              <p:spPr bwMode="gray">
                <a:xfrm flipV="1">
                  <a:off x="11726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1" name="Ellipse 160"/>
                <p:cNvSpPr/>
                <p:nvPr/>
              </p:nvSpPr>
              <p:spPr bwMode="gray">
                <a:xfrm flipV="1">
                  <a:off x="12274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2" name="Ellipse 161"/>
                <p:cNvSpPr/>
                <p:nvPr/>
              </p:nvSpPr>
              <p:spPr bwMode="gray">
                <a:xfrm flipV="1">
                  <a:off x="12822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3" name="Ellipse 162"/>
                <p:cNvSpPr/>
                <p:nvPr/>
              </p:nvSpPr>
              <p:spPr bwMode="gray">
                <a:xfrm flipV="1">
                  <a:off x="13370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4" name="Ellipse 163"/>
                <p:cNvSpPr/>
                <p:nvPr/>
              </p:nvSpPr>
              <p:spPr bwMode="gray">
                <a:xfrm flipV="1">
                  <a:off x="13918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5" name="Ellipse 164"/>
                <p:cNvSpPr/>
                <p:nvPr/>
              </p:nvSpPr>
              <p:spPr bwMode="gray">
                <a:xfrm flipV="1">
                  <a:off x="14466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6" name="Ellipse 165"/>
                <p:cNvSpPr/>
                <p:nvPr/>
              </p:nvSpPr>
              <p:spPr bwMode="gray">
                <a:xfrm flipV="1">
                  <a:off x="1501470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7" name="Ellipse 166"/>
                <p:cNvSpPr/>
                <p:nvPr/>
              </p:nvSpPr>
              <p:spPr bwMode="gray">
                <a:xfrm flipV="1">
                  <a:off x="15562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8" name="Ellipse 167"/>
                <p:cNvSpPr/>
                <p:nvPr/>
              </p:nvSpPr>
              <p:spPr bwMode="gray">
                <a:xfrm flipV="1">
                  <a:off x="16110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69" name="Ellipse 168"/>
                <p:cNvSpPr/>
                <p:nvPr/>
              </p:nvSpPr>
              <p:spPr bwMode="gray">
                <a:xfrm flipV="1">
                  <a:off x="16658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0" name="Ellipse 169"/>
                <p:cNvSpPr/>
                <p:nvPr/>
              </p:nvSpPr>
              <p:spPr bwMode="gray">
                <a:xfrm flipV="1">
                  <a:off x="17206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1" name="Ellipse 170"/>
                <p:cNvSpPr/>
                <p:nvPr/>
              </p:nvSpPr>
              <p:spPr bwMode="gray">
                <a:xfrm flipV="1">
                  <a:off x="17754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2" name="Ellipse 171"/>
                <p:cNvSpPr/>
                <p:nvPr/>
              </p:nvSpPr>
              <p:spPr bwMode="gray">
                <a:xfrm flipV="1">
                  <a:off x="18302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3" name="Ellipse 172"/>
                <p:cNvSpPr/>
                <p:nvPr/>
              </p:nvSpPr>
              <p:spPr bwMode="gray">
                <a:xfrm flipV="1">
                  <a:off x="18850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4" name="Ellipse 173"/>
                <p:cNvSpPr/>
                <p:nvPr/>
              </p:nvSpPr>
              <p:spPr bwMode="gray">
                <a:xfrm flipV="1">
                  <a:off x="19398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5" name="Ellipse 174"/>
                <p:cNvSpPr/>
                <p:nvPr/>
              </p:nvSpPr>
              <p:spPr bwMode="gray">
                <a:xfrm flipV="1">
                  <a:off x="19946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6" name="Ellipse 175"/>
                <p:cNvSpPr/>
                <p:nvPr/>
              </p:nvSpPr>
              <p:spPr bwMode="gray">
                <a:xfrm flipV="1">
                  <a:off x="20494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7" name="Ellipse 176"/>
                <p:cNvSpPr/>
                <p:nvPr/>
              </p:nvSpPr>
              <p:spPr bwMode="gray">
                <a:xfrm flipV="1">
                  <a:off x="21042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8" name="Ellipse 177"/>
                <p:cNvSpPr/>
                <p:nvPr/>
              </p:nvSpPr>
              <p:spPr bwMode="gray">
                <a:xfrm flipV="1">
                  <a:off x="21590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79" name="Ellipse 178"/>
                <p:cNvSpPr/>
                <p:nvPr/>
              </p:nvSpPr>
              <p:spPr bwMode="gray">
                <a:xfrm flipV="1">
                  <a:off x="22138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0" name="Ellipse 179"/>
                <p:cNvSpPr/>
                <p:nvPr/>
              </p:nvSpPr>
              <p:spPr bwMode="gray">
                <a:xfrm flipV="1">
                  <a:off x="22686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1" name="Ellipse 180"/>
                <p:cNvSpPr/>
                <p:nvPr/>
              </p:nvSpPr>
              <p:spPr bwMode="gray">
                <a:xfrm flipV="1">
                  <a:off x="23234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2" name="Ellipse 181"/>
                <p:cNvSpPr/>
                <p:nvPr/>
              </p:nvSpPr>
              <p:spPr bwMode="gray">
                <a:xfrm flipV="1">
                  <a:off x="23782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3" name="Ellipse 182"/>
                <p:cNvSpPr/>
                <p:nvPr/>
              </p:nvSpPr>
              <p:spPr bwMode="gray">
                <a:xfrm flipV="1">
                  <a:off x="24330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4" name="Ellipse 183"/>
                <p:cNvSpPr/>
                <p:nvPr/>
              </p:nvSpPr>
              <p:spPr bwMode="gray">
                <a:xfrm flipV="1">
                  <a:off x="24878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5" name="Ellipse 184"/>
                <p:cNvSpPr/>
                <p:nvPr/>
              </p:nvSpPr>
              <p:spPr bwMode="gray">
                <a:xfrm flipV="1">
                  <a:off x="25426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6" name="Ellipse 185"/>
                <p:cNvSpPr/>
                <p:nvPr/>
              </p:nvSpPr>
              <p:spPr bwMode="gray">
                <a:xfrm flipV="1">
                  <a:off x="25974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7" name="Ellipse 186"/>
                <p:cNvSpPr/>
                <p:nvPr/>
              </p:nvSpPr>
              <p:spPr bwMode="gray">
                <a:xfrm flipV="1">
                  <a:off x="26522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8" name="Ellipse 187"/>
                <p:cNvSpPr/>
                <p:nvPr/>
              </p:nvSpPr>
              <p:spPr bwMode="gray">
                <a:xfrm flipV="1">
                  <a:off x="27070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89" name="Ellipse 188"/>
                <p:cNvSpPr/>
                <p:nvPr/>
              </p:nvSpPr>
              <p:spPr bwMode="gray">
                <a:xfrm flipV="1">
                  <a:off x="2761868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0" name="Ellipse 189"/>
                <p:cNvSpPr/>
                <p:nvPr/>
              </p:nvSpPr>
              <p:spPr bwMode="gray">
                <a:xfrm flipV="1">
                  <a:off x="28166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1" name="Ellipse 190"/>
                <p:cNvSpPr/>
                <p:nvPr/>
              </p:nvSpPr>
              <p:spPr bwMode="gray">
                <a:xfrm flipV="1">
                  <a:off x="28714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2" name="Ellipse 191"/>
                <p:cNvSpPr/>
                <p:nvPr/>
              </p:nvSpPr>
              <p:spPr bwMode="gray">
                <a:xfrm flipV="1">
                  <a:off x="29262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3" name="Ellipse 192"/>
                <p:cNvSpPr/>
                <p:nvPr/>
              </p:nvSpPr>
              <p:spPr bwMode="gray">
                <a:xfrm flipV="1">
                  <a:off x="29810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4" name="Ellipse 193"/>
                <p:cNvSpPr/>
                <p:nvPr/>
              </p:nvSpPr>
              <p:spPr bwMode="gray">
                <a:xfrm flipV="1">
                  <a:off x="30358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5" name="Ellipse 194"/>
                <p:cNvSpPr/>
                <p:nvPr/>
              </p:nvSpPr>
              <p:spPr bwMode="gray">
                <a:xfrm flipV="1">
                  <a:off x="3090666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6" name="Ellipse 195"/>
                <p:cNvSpPr/>
                <p:nvPr/>
              </p:nvSpPr>
              <p:spPr bwMode="gray">
                <a:xfrm flipV="1">
                  <a:off x="3145466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7" name="Ellipse 196"/>
                <p:cNvSpPr/>
                <p:nvPr/>
              </p:nvSpPr>
              <p:spPr bwMode="gray">
                <a:xfrm flipV="1">
                  <a:off x="32002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8" name="Ellipse 197"/>
                <p:cNvSpPr/>
                <p:nvPr/>
              </p:nvSpPr>
              <p:spPr bwMode="gray">
                <a:xfrm flipV="1">
                  <a:off x="32550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99" name="Ellipse 198"/>
                <p:cNvSpPr/>
                <p:nvPr/>
              </p:nvSpPr>
              <p:spPr bwMode="gray">
                <a:xfrm flipV="1">
                  <a:off x="33098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0" name="Ellipse 199"/>
                <p:cNvSpPr/>
                <p:nvPr/>
              </p:nvSpPr>
              <p:spPr bwMode="gray">
                <a:xfrm flipV="1">
                  <a:off x="33646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1" name="Ellipse 200"/>
                <p:cNvSpPr/>
                <p:nvPr/>
              </p:nvSpPr>
              <p:spPr bwMode="gray">
                <a:xfrm flipV="1">
                  <a:off x="34194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2" name="Ellipse 201"/>
                <p:cNvSpPr/>
                <p:nvPr/>
              </p:nvSpPr>
              <p:spPr bwMode="gray">
                <a:xfrm flipV="1">
                  <a:off x="34742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3" name="Ellipse 202"/>
                <p:cNvSpPr/>
                <p:nvPr/>
              </p:nvSpPr>
              <p:spPr bwMode="gray">
                <a:xfrm flipV="1">
                  <a:off x="3529065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04" name="Gleichschenkliges Dreieck 203"/>
                <p:cNvSpPr/>
                <p:nvPr/>
              </p:nvSpPr>
              <p:spPr bwMode="gray">
                <a:xfrm flipV="1">
                  <a:off x="2213869" y="2866536"/>
                  <a:ext cx="142628" cy="135062"/>
                </a:xfrm>
                <a:prstGeom prst="triangle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134" name="Gruppieren 133"/>
            <p:cNvGrpSpPr/>
            <p:nvPr/>
          </p:nvGrpSpPr>
          <p:grpSpPr bwMode="gray">
            <a:xfrm>
              <a:off x="4083960" y="3648956"/>
              <a:ext cx="251019" cy="39818"/>
              <a:chOff x="13194064" y="-1169711"/>
              <a:chExt cx="1481146" cy="234950"/>
            </a:xfrm>
          </p:grpSpPr>
          <p:sp>
            <p:nvSpPr>
              <p:cNvPr id="140" name="Freeform 52"/>
              <p:cNvSpPr>
                <a:spLocks/>
              </p:cNvSpPr>
              <p:nvPr/>
            </p:nvSpPr>
            <p:spPr bwMode="gray">
              <a:xfrm>
                <a:off x="13194064" y="-1169711"/>
                <a:ext cx="173039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1" name="Freeform 53"/>
              <p:cNvSpPr>
                <a:spLocks/>
              </p:cNvSpPr>
              <p:nvPr/>
            </p:nvSpPr>
            <p:spPr bwMode="gray">
              <a:xfrm>
                <a:off x="13403627" y="-1164949"/>
                <a:ext cx="61914" cy="225426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2" name="Freeform 54"/>
              <p:cNvSpPr>
                <a:spLocks/>
              </p:cNvSpPr>
              <p:nvPr/>
            </p:nvSpPr>
            <p:spPr bwMode="gray">
              <a:xfrm>
                <a:off x="13245541" y="-1030734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3" name="Freeform 55"/>
              <p:cNvSpPr>
                <a:spLocks/>
              </p:cNvSpPr>
              <p:nvPr/>
            </p:nvSpPr>
            <p:spPr bwMode="gray">
              <a:xfrm>
                <a:off x="13524270" y="-1164949"/>
                <a:ext cx="163510" cy="225426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4" name="Freeform 56"/>
              <p:cNvSpPr>
                <a:spLocks/>
              </p:cNvSpPr>
              <p:nvPr/>
            </p:nvSpPr>
            <p:spPr bwMode="gray">
              <a:xfrm>
                <a:off x="13729054" y="-1164949"/>
                <a:ext cx="274634" cy="227014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5" name="Freeform 57"/>
              <p:cNvSpPr>
                <a:spLocks/>
              </p:cNvSpPr>
              <p:nvPr/>
            </p:nvSpPr>
            <p:spPr bwMode="gray">
              <a:xfrm>
                <a:off x="14060841" y="-1164949"/>
                <a:ext cx="165097" cy="225426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6" name="Freeform 58"/>
              <p:cNvSpPr>
                <a:spLocks/>
              </p:cNvSpPr>
              <p:nvPr/>
            </p:nvSpPr>
            <p:spPr bwMode="gray">
              <a:xfrm>
                <a:off x="14267218" y="-1164949"/>
                <a:ext cx="195260" cy="225426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147" name="Freeform 59"/>
              <p:cNvSpPr>
                <a:spLocks/>
              </p:cNvSpPr>
              <p:nvPr/>
            </p:nvSpPr>
            <p:spPr bwMode="gray">
              <a:xfrm>
                <a:off x="14502171" y="-1169711"/>
                <a:ext cx="173039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135" name="Gruppieren 134"/>
            <p:cNvGrpSpPr/>
            <p:nvPr/>
          </p:nvGrpSpPr>
          <p:grpSpPr bwMode="gray">
            <a:xfrm>
              <a:off x="4796943" y="3518070"/>
              <a:ext cx="41453" cy="96725"/>
              <a:chOff x="10923711" y="5301208"/>
              <a:chExt cx="108012" cy="252028"/>
            </a:xfrm>
          </p:grpSpPr>
          <p:sp>
            <p:nvSpPr>
              <p:cNvPr id="136" name="Abgerundetes Rechteck 135"/>
              <p:cNvSpPr/>
              <p:nvPr/>
            </p:nvSpPr>
            <p:spPr bwMode="gray">
              <a:xfrm>
                <a:off x="10923711" y="5301208"/>
                <a:ext cx="108012" cy="252028"/>
              </a:xfrm>
              <a:prstGeom prst="roundRect">
                <a:avLst>
                  <a:gd name="adj" fmla="val 49736"/>
                </a:avLst>
              </a:prstGeom>
              <a:solidFill>
                <a:srgbClr val="3C464B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37" name="Gruppieren 136"/>
              <p:cNvGrpSpPr/>
              <p:nvPr/>
            </p:nvGrpSpPr>
            <p:grpSpPr bwMode="gray">
              <a:xfrm>
                <a:off x="10954858" y="5332355"/>
                <a:ext cx="45719" cy="189735"/>
                <a:chOff x="10950439" y="5337212"/>
                <a:chExt cx="45719" cy="189735"/>
              </a:xfrm>
            </p:grpSpPr>
            <p:sp>
              <p:nvSpPr>
                <p:cNvPr id="138" name="Ellipse 137"/>
                <p:cNvSpPr/>
                <p:nvPr/>
              </p:nvSpPr>
              <p:spPr bwMode="gray">
                <a:xfrm>
                  <a:off x="10950439" y="5337212"/>
                  <a:ext cx="45719" cy="45719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9" name="Ellipse 138"/>
                <p:cNvSpPr/>
                <p:nvPr/>
              </p:nvSpPr>
              <p:spPr bwMode="gray">
                <a:xfrm>
                  <a:off x="10950439" y="5481228"/>
                  <a:ext cx="45719" cy="45719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grpSp>
        <p:nvGrpSpPr>
          <p:cNvPr id="7" name="Gruppieren 6"/>
          <p:cNvGrpSpPr/>
          <p:nvPr/>
        </p:nvGrpSpPr>
        <p:grpSpPr bwMode="gray">
          <a:xfrm>
            <a:off x="956146" y="2622620"/>
            <a:ext cx="2707868" cy="2707868"/>
            <a:chOff x="956146" y="2622620"/>
            <a:chExt cx="2707868" cy="2707868"/>
          </a:xfrm>
        </p:grpSpPr>
        <p:sp>
          <p:nvSpPr>
            <p:cNvPr id="280" name="Abgerundetes Rechteck 279"/>
            <p:cNvSpPr/>
            <p:nvPr/>
          </p:nvSpPr>
          <p:spPr bwMode="gray">
            <a:xfrm>
              <a:off x="956146" y="2622620"/>
              <a:ext cx="2707868" cy="2707868"/>
            </a:xfrm>
            <a:prstGeom prst="roundRect">
              <a:avLst>
                <a:gd name="adj" fmla="val 3745"/>
              </a:avLst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  <a:effectLst/>
            <a:scene3d>
              <a:camera prst="orthographicFront"/>
              <a:lightRig rig="threePt" dir="t"/>
            </a:scene3d>
            <a:sp3d extrusionH="50800">
              <a:bevelT prst="slope"/>
              <a:extrusionClr>
                <a:schemeClr val="accent2"/>
              </a:extrusionClr>
              <a:contourClr>
                <a:schemeClr val="accent1"/>
              </a:contourClr>
            </a:sp3d>
            <a:extLst/>
          </p:spPr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grpSp>
          <p:nvGrpSpPr>
            <p:cNvPr id="282" name="Gruppieren 281"/>
            <p:cNvGrpSpPr/>
            <p:nvPr/>
          </p:nvGrpSpPr>
          <p:grpSpPr bwMode="gray">
            <a:xfrm>
              <a:off x="1131306" y="5097264"/>
              <a:ext cx="403285" cy="63971"/>
              <a:chOff x="13194064" y="-1169711"/>
              <a:chExt cx="1481146" cy="234950"/>
            </a:xfrm>
          </p:grpSpPr>
          <p:sp>
            <p:nvSpPr>
              <p:cNvPr id="288" name="Freeform 52"/>
              <p:cNvSpPr>
                <a:spLocks/>
              </p:cNvSpPr>
              <p:nvPr/>
            </p:nvSpPr>
            <p:spPr bwMode="gray">
              <a:xfrm>
                <a:off x="13194064" y="-1169711"/>
                <a:ext cx="173039" cy="234950"/>
              </a:xfrm>
              <a:custGeom>
                <a:avLst/>
                <a:gdLst>
                  <a:gd name="T0" fmla="*/ 139 w 1310"/>
                  <a:gd name="T1" fmla="*/ 1401 h 1770"/>
                  <a:gd name="T2" fmla="*/ 306 w 1310"/>
                  <a:gd name="T3" fmla="*/ 1438 h 1770"/>
                  <a:gd name="T4" fmla="*/ 458 w 1310"/>
                  <a:gd name="T5" fmla="*/ 1457 h 1770"/>
                  <a:gd name="T6" fmla="*/ 615 w 1310"/>
                  <a:gd name="T7" fmla="*/ 1458 h 1770"/>
                  <a:gd name="T8" fmla="*/ 741 w 1310"/>
                  <a:gd name="T9" fmla="*/ 1434 h 1770"/>
                  <a:gd name="T10" fmla="*/ 790 w 1310"/>
                  <a:gd name="T11" fmla="*/ 1409 h 1770"/>
                  <a:gd name="T12" fmla="*/ 825 w 1310"/>
                  <a:gd name="T13" fmla="*/ 1378 h 1770"/>
                  <a:gd name="T14" fmla="*/ 844 w 1310"/>
                  <a:gd name="T15" fmla="*/ 1337 h 1770"/>
                  <a:gd name="T16" fmla="*/ 848 w 1310"/>
                  <a:gd name="T17" fmla="*/ 1285 h 1770"/>
                  <a:gd name="T18" fmla="*/ 824 w 1310"/>
                  <a:gd name="T19" fmla="*/ 1220 h 1770"/>
                  <a:gd name="T20" fmla="*/ 749 w 1310"/>
                  <a:gd name="T21" fmla="*/ 1161 h 1770"/>
                  <a:gd name="T22" fmla="*/ 571 w 1310"/>
                  <a:gd name="T23" fmla="*/ 1078 h 1770"/>
                  <a:gd name="T24" fmla="*/ 321 w 1310"/>
                  <a:gd name="T25" fmla="*/ 964 h 1770"/>
                  <a:gd name="T26" fmla="*/ 198 w 1310"/>
                  <a:gd name="T27" fmla="*/ 893 h 1770"/>
                  <a:gd name="T28" fmla="*/ 116 w 1310"/>
                  <a:gd name="T29" fmla="*/ 826 h 1770"/>
                  <a:gd name="T30" fmla="*/ 52 w 1310"/>
                  <a:gd name="T31" fmla="*/ 736 h 1770"/>
                  <a:gd name="T32" fmla="*/ 13 w 1310"/>
                  <a:gd name="T33" fmla="*/ 633 h 1770"/>
                  <a:gd name="T34" fmla="*/ 0 w 1310"/>
                  <a:gd name="T35" fmla="*/ 516 h 1770"/>
                  <a:gd name="T36" fmla="*/ 19 w 1310"/>
                  <a:gd name="T37" fmla="*/ 370 h 1770"/>
                  <a:gd name="T38" fmla="*/ 75 w 1310"/>
                  <a:gd name="T39" fmla="*/ 247 h 1770"/>
                  <a:gd name="T40" fmla="*/ 169 w 1310"/>
                  <a:gd name="T41" fmla="*/ 148 h 1770"/>
                  <a:gd name="T42" fmla="*/ 294 w 1310"/>
                  <a:gd name="T43" fmla="*/ 73 h 1770"/>
                  <a:gd name="T44" fmla="*/ 443 w 1310"/>
                  <a:gd name="T45" fmla="*/ 24 h 1770"/>
                  <a:gd name="T46" fmla="*/ 614 w 1310"/>
                  <a:gd name="T47" fmla="*/ 2 h 1770"/>
                  <a:gd name="T48" fmla="*/ 836 w 1310"/>
                  <a:gd name="T49" fmla="*/ 8 h 1770"/>
                  <a:gd name="T50" fmla="*/ 1177 w 1310"/>
                  <a:gd name="T51" fmla="*/ 61 h 1770"/>
                  <a:gd name="T52" fmla="*/ 1060 w 1310"/>
                  <a:gd name="T53" fmla="*/ 344 h 1770"/>
                  <a:gd name="T54" fmla="*/ 921 w 1310"/>
                  <a:gd name="T55" fmla="*/ 309 h 1770"/>
                  <a:gd name="T56" fmla="*/ 787 w 1310"/>
                  <a:gd name="T57" fmla="*/ 292 h 1770"/>
                  <a:gd name="T58" fmla="*/ 638 w 1310"/>
                  <a:gd name="T59" fmla="*/ 296 h 1770"/>
                  <a:gd name="T60" fmla="*/ 521 w 1310"/>
                  <a:gd name="T61" fmla="*/ 331 h 1770"/>
                  <a:gd name="T62" fmla="*/ 483 w 1310"/>
                  <a:gd name="T63" fmla="*/ 359 h 1770"/>
                  <a:gd name="T64" fmla="*/ 459 w 1310"/>
                  <a:gd name="T65" fmla="*/ 395 h 1770"/>
                  <a:gd name="T66" fmla="*/ 450 w 1310"/>
                  <a:gd name="T67" fmla="*/ 439 h 1770"/>
                  <a:gd name="T68" fmla="*/ 463 w 1310"/>
                  <a:gd name="T69" fmla="*/ 502 h 1770"/>
                  <a:gd name="T70" fmla="*/ 521 w 1310"/>
                  <a:gd name="T71" fmla="*/ 553 h 1770"/>
                  <a:gd name="T72" fmla="*/ 674 w 1310"/>
                  <a:gd name="T73" fmla="*/ 629 h 1770"/>
                  <a:gd name="T74" fmla="*/ 946 w 1310"/>
                  <a:gd name="T75" fmla="*/ 756 h 1770"/>
                  <a:gd name="T76" fmla="*/ 1080 w 1310"/>
                  <a:gd name="T77" fmla="*/ 832 h 1770"/>
                  <a:gd name="T78" fmla="*/ 1174 w 1310"/>
                  <a:gd name="T79" fmla="*/ 901 h 1770"/>
                  <a:gd name="T80" fmla="*/ 1241 w 1310"/>
                  <a:gd name="T81" fmla="*/ 979 h 1770"/>
                  <a:gd name="T82" fmla="*/ 1287 w 1310"/>
                  <a:gd name="T83" fmla="*/ 1074 h 1770"/>
                  <a:gd name="T84" fmla="*/ 1308 w 1310"/>
                  <a:gd name="T85" fmla="*/ 1182 h 1770"/>
                  <a:gd name="T86" fmla="*/ 1301 w 1310"/>
                  <a:gd name="T87" fmla="*/ 1328 h 1770"/>
                  <a:gd name="T88" fmla="*/ 1276 w 1310"/>
                  <a:gd name="T89" fmla="*/ 1418 h 1770"/>
                  <a:gd name="T90" fmla="*/ 1242 w 1310"/>
                  <a:gd name="T91" fmla="*/ 1486 h 1770"/>
                  <a:gd name="T92" fmla="*/ 1196 w 1310"/>
                  <a:gd name="T93" fmla="*/ 1547 h 1770"/>
                  <a:gd name="T94" fmla="*/ 1098 w 1310"/>
                  <a:gd name="T95" fmla="*/ 1633 h 1770"/>
                  <a:gd name="T96" fmla="*/ 965 w 1310"/>
                  <a:gd name="T97" fmla="*/ 1703 h 1770"/>
                  <a:gd name="T98" fmla="*/ 813 w 1310"/>
                  <a:gd name="T99" fmla="*/ 1747 h 1770"/>
                  <a:gd name="T100" fmla="*/ 639 w 1310"/>
                  <a:gd name="T101" fmla="*/ 1768 h 1770"/>
                  <a:gd name="T102" fmla="*/ 366 w 1310"/>
                  <a:gd name="T103" fmla="*/ 1761 h 1770"/>
                  <a:gd name="T104" fmla="*/ 34 w 1310"/>
                  <a:gd name="T105" fmla="*/ 1707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310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70" y="1382"/>
                    </a:lnTo>
                    <a:lnTo>
                      <a:pt x="105" y="1392"/>
                    </a:lnTo>
                    <a:lnTo>
                      <a:pt x="139" y="1401"/>
                    </a:lnTo>
                    <a:lnTo>
                      <a:pt x="174" y="1410"/>
                    </a:lnTo>
                    <a:lnTo>
                      <a:pt x="208" y="1419"/>
                    </a:lnTo>
                    <a:lnTo>
                      <a:pt x="240" y="1426"/>
                    </a:lnTo>
                    <a:lnTo>
                      <a:pt x="273" y="1432"/>
                    </a:lnTo>
                    <a:lnTo>
                      <a:pt x="306" y="1438"/>
                    </a:lnTo>
                    <a:lnTo>
                      <a:pt x="336" y="1444"/>
                    </a:lnTo>
                    <a:lnTo>
                      <a:pt x="368" y="1448"/>
                    </a:lnTo>
                    <a:lnTo>
                      <a:pt x="399" y="1452"/>
                    </a:lnTo>
                    <a:lnTo>
                      <a:pt x="428" y="1455"/>
                    </a:lnTo>
                    <a:lnTo>
                      <a:pt x="458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3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7" y="1451"/>
                    </a:lnTo>
                    <a:lnTo>
                      <a:pt x="705" y="1445"/>
                    </a:lnTo>
                    <a:lnTo>
                      <a:pt x="729" y="1438"/>
                    </a:lnTo>
                    <a:lnTo>
                      <a:pt x="741" y="1434"/>
                    </a:lnTo>
                    <a:lnTo>
                      <a:pt x="751" y="1430"/>
                    </a:lnTo>
                    <a:lnTo>
                      <a:pt x="763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3" y="1391"/>
                    </a:lnTo>
                    <a:lnTo>
                      <a:pt x="819" y="1385"/>
                    </a:lnTo>
                    <a:lnTo>
                      <a:pt x="825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8" y="1354"/>
                    </a:lnTo>
                    <a:lnTo>
                      <a:pt x="841" y="1346"/>
                    </a:lnTo>
                    <a:lnTo>
                      <a:pt x="844" y="1337"/>
                    </a:lnTo>
                    <a:lnTo>
                      <a:pt x="846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8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5" y="1208"/>
                    </a:lnTo>
                    <a:lnTo>
                      <a:pt x="804" y="1198"/>
                    </a:lnTo>
                    <a:lnTo>
                      <a:pt x="790" y="1187"/>
                    </a:lnTo>
                    <a:lnTo>
                      <a:pt x="773" y="1175"/>
                    </a:lnTo>
                    <a:lnTo>
                      <a:pt x="749" y="1161"/>
                    </a:lnTo>
                    <a:lnTo>
                      <a:pt x="723" y="1146"/>
                    </a:lnTo>
                    <a:lnTo>
                      <a:pt x="691" y="1131"/>
                    </a:lnTo>
                    <a:lnTo>
                      <a:pt x="656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5"/>
                    </a:lnTo>
                    <a:lnTo>
                      <a:pt x="352" y="980"/>
                    </a:lnTo>
                    <a:lnTo>
                      <a:pt x="321" y="964"/>
                    </a:lnTo>
                    <a:lnTo>
                      <a:pt x="292" y="949"/>
                    </a:lnTo>
                    <a:lnTo>
                      <a:pt x="266" y="935"/>
                    </a:lnTo>
                    <a:lnTo>
                      <a:pt x="241" y="921"/>
                    </a:lnTo>
                    <a:lnTo>
                      <a:pt x="219" y="906"/>
                    </a:lnTo>
                    <a:lnTo>
                      <a:pt x="198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6" y="854"/>
                    </a:lnTo>
                    <a:lnTo>
                      <a:pt x="132" y="842"/>
                    </a:lnTo>
                    <a:lnTo>
                      <a:pt x="116" y="826"/>
                    </a:lnTo>
                    <a:lnTo>
                      <a:pt x="101" y="808"/>
                    </a:lnTo>
                    <a:lnTo>
                      <a:pt x="87" y="791"/>
                    </a:lnTo>
                    <a:lnTo>
                      <a:pt x="74" y="773"/>
                    </a:lnTo>
                    <a:lnTo>
                      <a:pt x="62" y="754"/>
                    </a:lnTo>
                    <a:lnTo>
                      <a:pt x="52" y="736"/>
                    </a:lnTo>
                    <a:lnTo>
                      <a:pt x="42" y="715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5" y="588"/>
                    </a:lnTo>
                    <a:lnTo>
                      <a:pt x="2" y="564"/>
                    </a:lnTo>
                    <a:lnTo>
                      <a:pt x="1" y="541"/>
                    </a:lnTo>
                    <a:lnTo>
                      <a:pt x="0" y="516"/>
                    </a:lnTo>
                    <a:lnTo>
                      <a:pt x="1" y="485"/>
                    </a:lnTo>
                    <a:lnTo>
                      <a:pt x="3" y="455"/>
                    </a:lnTo>
                    <a:lnTo>
                      <a:pt x="7" y="425"/>
                    </a:lnTo>
                    <a:lnTo>
                      <a:pt x="12" y="397"/>
                    </a:lnTo>
                    <a:lnTo>
                      <a:pt x="19" y="370"/>
                    </a:lnTo>
                    <a:lnTo>
                      <a:pt x="27" y="344"/>
                    </a:lnTo>
                    <a:lnTo>
                      <a:pt x="36" y="318"/>
                    </a:lnTo>
                    <a:lnTo>
                      <a:pt x="48" y="294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8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3" y="61"/>
                    </a:lnTo>
                    <a:lnTo>
                      <a:pt x="352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6" y="18"/>
                    </a:lnTo>
                    <a:lnTo>
                      <a:pt x="509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1" y="0"/>
                    </a:lnTo>
                    <a:lnTo>
                      <a:pt x="689" y="0"/>
                    </a:lnTo>
                    <a:lnTo>
                      <a:pt x="733" y="0"/>
                    </a:lnTo>
                    <a:lnTo>
                      <a:pt x="783" y="3"/>
                    </a:lnTo>
                    <a:lnTo>
                      <a:pt x="836" y="8"/>
                    </a:lnTo>
                    <a:lnTo>
                      <a:pt x="895" y="15"/>
                    </a:lnTo>
                    <a:lnTo>
                      <a:pt x="958" y="23"/>
                    </a:lnTo>
                    <a:lnTo>
                      <a:pt x="1027" y="35"/>
                    </a:lnTo>
                    <a:lnTo>
                      <a:pt x="1099" y="47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8" y="363"/>
                    </a:lnTo>
                    <a:lnTo>
                      <a:pt x="1089" y="353"/>
                    </a:lnTo>
                    <a:lnTo>
                      <a:pt x="1060" y="344"/>
                    </a:lnTo>
                    <a:lnTo>
                      <a:pt x="1032" y="336"/>
                    </a:lnTo>
                    <a:lnTo>
                      <a:pt x="1003" y="327"/>
                    </a:lnTo>
                    <a:lnTo>
                      <a:pt x="976" y="320"/>
                    </a:lnTo>
                    <a:lnTo>
                      <a:pt x="947" y="314"/>
                    </a:lnTo>
                    <a:lnTo>
                      <a:pt x="921" y="309"/>
                    </a:lnTo>
                    <a:lnTo>
                      <a:pt x="893" y="304"/>
                    </a:lnTo>
                    <a:lnTo>
                      <a:pt x="867" y="300"/>
                    </a:lnTo>
                    <a:lnTo>
                      <a:pt x="839" y="297"/>
                    </a:lnTo>
                    <a:lnTo>
                      <a:pt x="814" y="294"/>
                    </a:lnTo>
                    <a:lnTo>
                      <a:pt x="787" y="292"/>
                    </a:lnTo>
                    <a:lnTo>
                      <a:pt x="762" y="291"/>
                    </a:lnTo>
                    <a:lnTo>
                      <a:pt x="736" y="291"/>
                    </a:lnTo>
                    <a:lnTo>
                      <a:pt x="700" y="292"/>
                    </a:lnTo>
                    <a:lnTo>
                      <a:pt x="669" y="293"/>
                    </a:lnTo>
                    <a:lnTo>
                      <a:pt x="638" y="296"/>
                    </a:lnTo>
                    <a:lnTo>
                      <a:pt x="610" y="301"/>
                    </a:lnTo>
                    <a:lnTo>
                      <a:pt x="584" y="306"/>
                    </a:lnTo>
                    <a:lnTo>
                      <a:pt x="561" y="313"/>
                    </a:lnTo>
                    <a:lnTo>
                      <a:pt x="539" y="321"/>
                    </a:lnTo>
                    <a:lnTo>
                      <a:pt x="521" y="331"/>
                    </a:lnTo>
                    <a:lnTo>
                      <a:pt x="512" y="336"/>
                    </a:lnTo>
                    <a:lnTo>
                      <a:pt x="504" y="341"/>
                    </a:lnTo>
                    <a:lnTo>
                      <a:pt x="496" y="346"/>
                    </a:lnTo>
                    <a:lnTo>
                      <a:pt x="489" y="352"/>
                    </a:lnTo>
                    <a:lnTo>
                      <a:pt x="483" y="359"/>
                    </a:lnTo>
                    <a:lnTo>
                      <a:pt x="477" y="365"/>
                    </a:lnTo>
                    <a:lnTo>
                      <a:pt x="472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6" y="403"/>
                    </a:lnTo>
                    <a:lnTo>
                      <a:pt x="454" y="411"/>
                    </a:lnTo>
                    <a:lnTo>
                      <a:pt x="452" y="420"/>
                    </a:lnTo>
                    <a:lnTo>
                      <a:pt x="450" y="430"/>
                    </a:lnTo>
                    <a:lnTo>
                      <a:pt x="450" y="439"/>
                    </a:lnTo>
                    <a:lnTo>
                      <a:pt x="448" y="449"/>
                    </a:lnTo>
                    <a:lnTo>
                      <a:pt x="450" y="463"/>
                    </a:lnTo>
                    <a:lnTo>
                      <a:pt x="453" y="477"/>
                    </a:lnTo>
                    <a:lnTo>
                      <a:pt x="457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3" y="536"/>
                    </a:lnTo>
                    <a:lnTo>
                      <a:pt x="507" y="545"/>
                    </a:lnTo>
                    <a:lnTo>
                      <a:pt x="521" y="553"/>
                    </a:lnTo>
                    <a:lnTo>
                      <a:pt x="541" y="564"/>
                    </a:lnTo>
                    <a:lnTo>
                      <a:pt x="567" y="577"/>
                    </a:lnTo>
                    <a:lnTo>
                      <a:pt x="597" y="592"/>
                    </a:lnTo>
                    <a:lnTo>
                      <a:pt x="633" y="609"/>
                    </a:lnTo>
                    <a:lnTo>
                      <a:pt x="674" y="629"/>
                    </a:lnTo>
                    <a:lnTo>
                      <a:pt x="720" y="649"/>
                    </a:lnTo>
                    <a:lnTo>
                      <a:pt x="772" y="672"/>
                    </a:lnTo>
                    <a:lnTo>
                      <a:pt x="846" y="707"/>
                    </a:lnTo>
                    <a:lnTo>
                      <a:pt x="915" y="740"/>
                    </a:lnTo>
                    <a:lnTo>
                      <a:pt x="946" y="756"/>
                    </a:lnTo>
                    <a:lnTo>
                      <a:pt x="976" y="771"/>
                    </a:lnTo>
                    <a:lnTo>
                      <a:pt x="1004" y="787"/>
                    </a:lnTo>
                    <a:lnTo>
                      <a:pt x="1032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2" y="846"/>
                    </a:lnTo>
                    <a:lnTo>
                      <a:pt x="1123" y="860"/>
                    </a:lnTo>
                    <a:lnTo>
                      <a:pt x="1141" y="875"/>
                    </a:lnTo>
                    <a:lnTo>
                      <a:pt x="1158" y="888"/>
                    </a:lnTo>
                    <a:lnTo>
                      <a:pt x="1174" y="901"/>
                    </a:lnTo>
                    <a:lnTo>
                      <a:pt x="1187" y="913"/>
                    </a:lnTo>
                    <a:lnTo>
                      <a:pt x="1202" y="930"/>
                    </a:lnTo>
                    <a:lnTo>
                      <a:pt x="1216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2" y="997"/>
                    </a:lnTo>
                    <a:lnTo>
                      <a:pt x="1262" y="1015"/>
                    </a:lnTo>
                    <a:lnTo>
                      <a:pt x="1271" y="1034"/>
                    </a:lnTo>
                    <a:lnTo>
                      <a:pt x="1279" y="1053"/>
                    </a:lnTo>
                    <a:lnTo>
                      <a:pt x="1287" y="1074"/>
                    </a:lnTo>
                    <a:lnTo>
                      <a:pt x="1293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8" y="1182"/>
                    </a:lnTo>
                    <a:lnTo>
                      <a:pt x="1309" y="1204"/>
                    </a:lnTo>
                    <a:lnTo>
                      <a:pt x="1310" y="1229"/>
                    </a:lnTo>
                    <a:lnTo>
                      <a:pt x="1309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7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1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8" y="1633"/>
                    </a:lnTo>
                    <a:lnTo>
                      <a:pt x="1069" y="1651"/>
                    </a:lnTo>
                    <a:lnTo>
                      <a:pt x="1044" y="1666"/>
                    </a:lnTo>
                    <a:lnTo>
                      <a:pt x="1019" y="1679"/>
                    </a:lnTo>
                    <a:lnTo>
                      <a:pt x="992" y="1691"/>
                    </a:lnTo>
                    <a:lnTo>
                      <a:pt x="965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3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2" y="1762"/>
                    </a:lnTo>
                    <a:lnTo>
                      <a:pt x="676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6" y="1761"/>
                    </a:lnTo>
                    <a:lnTo>
                      <a:pt x="300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1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89" name="Freeform 53"/>
              <p:cNvSpPr>
                <a:spLocks/>
              </p:cNvSpPr>
              <p:nvPr/>
            </p:nvSpPr>
            <p:spPr bwMode="gray">
              <a:xfrm>
                <a:off x="13403627" y="-1164949"/>
                <a:ext cx="61914" cy="225426"/>
              </a:xfrm>
              <a:custGeom>
                <a:avLst/>
                <a:gdLst>
                  <a:gd name="T0" fmla="*/ 476 w 476"/>
                  <a:gd name="T1" fmla="*/ 0 h 1706"/>
                  <a:gd name="T2" fmla="*/ 476 w 476"/>
                  <a:gd name="T3" fmla="*/ 1706 h 1706"/>
                  <a:gd name="T4" fmla="*/ 0 w 476"/>
                  <a:gd name="T5" fmla="*/ 1706 h 1706"/>
                  <a:gd name="T6" fmla="*/ 0 w 476"/>
                  <a:gd name="T7" fmla="*/ 0 h 1706"/>
                  <a:gd name="T8" fmla="*/ 238 w 476"/>
                  <a:gd name="T9" fmla="*/ 285 h 1706"/>
                  <a:gd name="T10" fmla="*/ 476 w 476"/>
                  <a:gd name="T11" fmla="*/ 0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76" h="1706">
                    <a:moveTo>
                      <a:pt x="476" y="0"/>
                    </a:moveTo>
                    <a:lnTo>
                      <a:pt x="476" y="1706"/>
                    </a:lnTo>
                    <a:lnTo>
                      <a:pt x="0" y="1706"/>
                    </a:lnTo>
                    <a:lnTo>
                      <a:pt x="0" y="0"/>
                    </a:lnTo>
                    <a:lnTo>
                      <a:pt x="238" y="285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0" name="Freeform 54"/>
              <p:cNvSpPr>
                <a:spLocks/>
              </p:cNvSpPr>
              <p:nvPr/>
            </p:nvSpPr>
            <p:spPr bwMode="gray">
              <a:xfrm>
                <a:off x="13245541" y="-1030734"/>
                <a:ext cx="61913" cy="69850"/>
              </a:xfrm>
              <a:custGeom>
                <a:avLst/>
                <a:gdLst>
                  <a:gd name="T0" fmla="*/ 476 w 476"/>
                  <a:gd name="T1" fmla="*/ 0 h 530"/>
                  <a:gd name="T2" fmla="*/ 0 w 476"/>
                  <a:gd name="T3" fmla="*/ 0 h 530"/>
                  <a:gd name="T4" fmla="*/ 238 w 476"/>
                  <a:gd name="T5" fmla="*/ 530 h 530"/>
                  <a:gd name="T6" fmla="*/ 476 w 476"/>
                  <a:gd name="T7" fmla="*/ 0 h 5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76" h="530">
                    <a:moveTo>
                      <a:pt x="476" y="0"/>
                    </a:moveTo>
                    <a:lnTo>
                      <a:pt x="0" y="0"/>
                    </a:lnTo>
                    <a:lnTo>
                      <a:pt x="238" y="530"/>
                    </a:lnTo>
                    <a:lnTo>
                      <a:pt x="476" y="0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1" name="Freeform 55"/>
              <p:cNvSpPr>
                <a:spLocks/>
              </p:cNvSpPr>
              <p:nvPr/>
            </p:nvSpPr>
            <p:spPr bwMode="gray">
              <a:xfrm>
                <a:off x="13524270" y="-1164949"/>
                <a:ext cx="163510" cy="225426"/>
              </a:xfrm>
              <a:custGeom>
                <a:avLst/>
                <a:gdLst>
                  <a:gd name="T0" fmla="*/ 0 w 1241"/>
                  <a:gd name="T1" fmla="*/ 1706 h 1706"/>
                  <a:gd name="T2" fmla="*/ 0 w 1241"/>
                  <a:gd name="T3" fmla="*/ 0 h 1706"/>
                  <a:gd name="T4" fmla="*/ 1222 w 1241"/>
                  <a:gd name="T5" fmla="*/ 0 h 1706"/>
                  <a:gd name="T6" fmla="*/ 1222 w 1241"/>
                  <a:gd name="T7" fmla="*/ 309 h 1706"/>
                  <a:gd name="T8" fmla="*/ 459 w 1241"/>
                  <a:gd name="T9" fmla="*/ 309 h 1706"/>
                  <a:gd name="T10" fmla="*/ 459 w 1241"/>
                  <a:gd name="T11" fmla="*/ 693 h 1706"/>
                  <a:gd name="T12" fmla="*/ 1123 w 1241"/>
                  <a:gd name="T13" fmla="*/ 693 h 1706"/>
                  <a:gd name="T14" fmla="*/ 1123 w 1241"/>
                  <a:gd name="T15" fmla="*/ 975 h 1706"/>
                  <a:gd name="T16" fmla="*/ 459 w 1241"/>
                  <a:gd name="T17" fmla="*/ 975 h 1706"/>
                  <a:gd name="T18" fmla="*/ 459 w 1241"/>
                  <a:gd name="T19" fmla="*/ 1380 h 1706"/>
                  <a:gd name="T20" fmla="*/ 1241 w 1241"/>
                  <a:gd name="T21" fmla="*/ 1380 h 1706"/>
                  <a:gd name="T22" fmla="*/ 1241 w 1241"/>
                  <a:gd name="T23" fmla="*/ 1706 h 1706"/>
                  <a:gd name="T24" fmla="*/ 0 w 1241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1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2" y="0"/>
                    </a:lnTo>
                    <a:lnTo>
                      <a:pt x="1222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1" y="1380"/>
                    </a:lnTo>
                    <a:lnTo>
                      <a:pt x="1241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2" name="Freeform 56"/>
              <p:cNvSpPr>
                <a:spLocks/>
              </p:cNvSpPr>
              <p:nvPr/>
            </p:nvSpPr>
            <p:spPr bwMode="gray">
              <a:xfrm>
                <a:off x="13729054" y="-1164949"/>
                <a:ext cx="274634" cy="227014"/>
              </a:xfrm>
              <a:custGeom>
                <a:avLst/>
                <a:gdLst>
                  <a:gd name="T0" fmla="*/ 0 w 2073"/>
                  <a:gd name="T1" fmla="*/ 1706 h 1723"/>
                  <a:gd name="T2" fmla="*/ 0 w 2073"/>
                  <a:gd name="T3" fmla="*/ 0 h 1723"/>
                  <a:gd name="T4" fmla="*/ 617 w 2073"/>
                  <a:gd name="T5" fmla="*/ 0 h 1723"/>
                  <a:gd name="T6" fmla="*/ 1047 w 2073"/>
                  <a:gd name="T7" fmla="*/ 1090 h 1723"/>
                  <a:gd name="T8" fmla="*/ 1486 w 2073"/>
                  <a:gd name="T9" fmla="*/ 0 h 1723"/>
                  <a:gd name="T10" fmla="*/ 2073 w 2073"/>
                  <a:gd name="T11" fmla="*/ 0 h 1723"/>
                  <a:gd name="T12" fmla="*/ 2073 w 2073"/>
                  <a:gd name="T13" fmla="*/ 1706 h 1723"/>
                  <a:gd name="T14" fmla="*/ 1621 w 2073"/>
                  <a:gd name="T15" fmla="*/ 1706 h 1723"/>
                  <a:gd name="T16" fmla="*/ 1621 w 2073"/>
                  <a:gd name="T17" fmla="*/ 499 h 1723"/>
                  <a:gd name="T18" fmla="*/ 1121 w 2073"/>
                  <a:gd name="T19" fmla="*/ 1723 h 1723"/>
                  <a:gd name="T20" fmla="*/ 826 w 2073"/>
                  <a:gd name="T21" fmla="*/ 1723 h 1723"/>
                  <a:gd name="T22" fmla="*/ 336 w 2073"/>
                  <a:gd name="T23" fmla="*/ 499 h 1723"/>
                  <a:gd name="T24" fmla="*/ 336 w 2073"/>
                  <a:gd name="T25" fmla="*/ 1706 h 1723"/>
                  <a:gd name="T26" fmla="*/ 0 w 2073"/>
                  <a:gd name="T27" fmla="*/ 1706 h 17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2073" h="1723">
                    <a:moveTo>
                      <a:pt x="0" y="1706"/>
                    </a:moveTo>
                    <a:lnTo>
                      <a:pt x="0" y="0"/>
                    </a:lnTo>
                    <a:lnTo>
                      <a:pt x="617" y="0"/>
                    </a:lnTo>
                    <a:lnTo>
                      <a:pt x="1047" y="1090"/>
                    </a:lnTo>
                    <a:lnTo>
                      <a:pt x="1486" y="0"/>
                    </a:lnTo>
                    <a:lnTo>
                      <a:pt x="2073" y="0"/>
                    </a:lnTo>
                    <a:lnTo>
                      <a:pt x="2073" y="1706"/>
                    </a:lnTo>
                    <a:lnTo>
                      <a:pt x="1621" y="1706"/>
                    </a:lnTo>
                    <a:lnTo>
                      <a:pt x="1621" y="499"/>
                    </a:lnTo>
                    <a:lnTo>
                      <a:pt x="1121" y="1723"/>
                    </a:lnTo>
                    <a:lnTo>
                      <a:pt x="826" y="1723"/>
                    </a:lnTo>
                    <a:lnTo>
                      <a:pt x="336" y="499"/>
                    </a:lnTo>
                    <a:lnTo>
                      <a:pt x="336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3" name="Freeform 57"/>
              <p:cNvSpPr>
                <a:spLocks/>
              </p:cNvSpPr>
              <p:nvPr/>
            </p:nvSpPr>
            <p:spPr bwMode="gray">
              <a:xfrm>
                <a:off x="14060841" y="-1164949"/>
                <a:ext cx="165097" cy="225426"/>
              </a:xfrm>
              <a:custGeom>
                <a:avLst/>
                <a:gdLst>
                  <a:gd name="T0" fmla="*/ 0 w 1242"/>
                  <a:gd name="T1" fmla="*/ 1706 h 1706"/>
                  <a:gd name="T2" fmla="*/ 0 w 1242"/>
                  <a:gd name="T3" fmla="*/ 0 h 1706"/>
                  <a:gd name="T4" fmla="*/ 1221 w 1242"/>
                  <a:gd name="T5" fmla="*/ 0 h 1706"/>
                  <a:gd name="T6" fmla="*/ 1221 w 1242"/>
                  <a:gd name="T7" fmla="*/ 309 h 1706"/>
                  <a:gd name="T8" fmla="*/ 459 w 1242"/>
                  <a:gd name="T9" fmla="*/ 309 h 1706"/>
                  <a:gd name="T10" fmla="*/ 459 w 1242"/>
                  <a:gd name="T11" fmla="*/ 693 h 1706"/>
                  <a:gd name="T12" fmla="*/ 1123 w 1242"/>
                  <a:gd name="T13" fmla="*/ 693 h 1706"/>
                  <a:gd name="T14" fmla="*/ 1123 w 1242"/>
                  <a:gd name="T15" fmla="*/ 975 h 1706"/>
                  <a:gd name="T16" fmla="*/ 459 w 1242"/>
                  <a:gd name="T17" fmla="*/ 975 h 1706"/>
                  <a:gd name="T18" fmla="*/ 459 w 1242"/>
                  <a:gd name="T19" fmla="*/ 1380 h 1706"/>
                  <a:gd name="T20" fmla="*/ 1242 w 1242"/>
                  <a:gd name="T21" fmla="*/ 1380 h 1706"/>
                  <a:gd name="T22" fmla="*/ 1242 w 1242"/>
                  <a:gd name="T23" fmla="*/ 1706 h 1706"/>
                  <a:gd name="T24" fmla="*/ 0 w 1242"/>
                  <a:gd name="T25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1242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1221" y="0"/>
                    </a:lnTo>
                    <a:lnTo>
                      <a:pt x="1221" y="309"/>
                    </a:lnTo>
                    <a:lnTo>
                      <a:pt x="459" y="309"/>
                    </a:lnTo>
                    <a:lnTo>
                      <a:pt x="459" y="693"/>
                    </a:lnTo>
                    <a:lnTo>
                      <a:pt x="1123" y="693"/>
                    </a:lnTo>
                    <a:lnTo>
                      <a:pt x="1123" y="975"/>
                    </a:lnTo>
                    <a:lnTo>
                      <a:pt x="459" y="975"/>
                    </a:lnTo>
                    <a:lnTo>
                      <a:pt x="459" y="1380"/>
                    </a:lnTo>
                    <a:lnTo>
                      <a:pt x="1242" y="1380"/>
                    </a:lnTo>
                    <a:lnTo>
                      <a:pt x="1242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4" name="Freeform 58"/>
              <p:cNvSpPr>
                <a:spLocks/>
              </p:cNvSpPr>
              <p:nvPr/>
            </p:nvSpPr>
            <p:spPr bwMode="gray">
              <a:xfrm>
                <a:off x="14267218" y="-1164949"/>
                <a:ext cx="195260" cy="225426"/>
              </a:xfrm>
              <a:custGeom>
                <a:avLst/>
                <a:gdLst>
                  <a:gd name="T0" fmla="*/ 0 w 1473"/>
                  <a:gd name="T1" fmla="*/ 1706 h 1706"/>
                  <a:gd name="T2" fmla="*/ 0 w 1473"/>
                  <a:gd name="T3" fmla="*/ 0 h 1706"/>
                  <a:gd name="T4" fmla="*/ 551 w 1473"/>
                  <a:gd name="T5" fmla="*/ 0 h 1706"/>
                  <a:gd name="T6" fmla="*/ 1137 w 1473"/>
                  <a:gd name="T7" fmla="*/ 1142 h 1706"/>
                  <a:gd name="T8" fmla="*/ 1137 w 1473"/>
                  <a:gd name="T9" fmla="*/ 0 h 1706"/>
                  <a:gd name="T10" fmla="*/ 1473 w 1473"/>
                  <a:gd name="T11" fmla="*/ 0 h 1706"/>
                  <a:gd name="T12" fmla="*/ 1473 w 1473"/>
                  <a:gd name="T13" fmla="*/ 1706 h 1706"/>
                  <a:gd name="T14" fmla="*/ 936 w 1473"/>
                  <a:gd name="T15" fmla="*/ 1706 h 1706"/>
                  <a:gd name="T16" fmla="*/ 335 w 1473"/>
                  <a:gd name="T17" fmla="*/ 549 h 1706"/>
                  <a:gd name="T18" fmla="*/ 335 w 1473"/>
                  <a:gd name="T19" fmla="*/ 1706 h 1706"/>
                  <a:gd name="T20" fmla="*/ 0 w 1473"/>
                  <a:gd name="T21" fmla="*/ 1706 h 17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473" h="1706">
                    <a:moveTo>
                      <a:pt x="0" y="1706"/>
                    </a:moveTo>
                    <a:lnTo>
                      <a:pt x="0" y="0"/>
                    </a:lnTo>
                    <a:lnTo>
                      <a:pt x="551" y="0"/>
                    </a:lnTo>
                    <a:lnTo>
                      <a:pt x="1137" y="1142"/>
                    </a:lnTo>
                    <a:lnTo>
                      <a:pt x="1137" y="0"/>
                    </a:lnTo>
                    <a:lnTo>
                      <a:pt x="1473" y="0"/>
                    </a:lnTo>
                    <a:lnTo>
                      <a:pt x="1473" y="1706"/>
                    </a:lnTo>
                    <a:lnTo>
                      <a:pt x="936" y="1706"/>
                    </a:lnTo>
                    <a:lnTo>
                      <a:pt x="335" y="549"/>
                    </a:lnTo>
                    <a:lnTo>
                      <a:pt x="335" y="1706"/>
                    </a:lnTo>
                    <a:lnTo>
                      <a:pt x="0" y="1706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  <p:sp>
            <p:nvSpPr>
              <p:cNvPr id="295" name="Freeform 59"/>
              <p:cNvSpPr>
                <a:spLocks/>
              </p:cNvSpPr>
              <p:nvPr/>
            </p:nvSpPr>
            <p:spPr bwMode="gray">
              <a:xfrm>
                <a:off x="14502171" y="-1169711"/>
                <a:ext cx="173039" cy="234950"/>
              </a:xfrm>
              <a:custGeom>
                <a:avLst/>
                <a:gdLst>
                  <a:gd name="T0" fmla="*/ 138 w 1309"/>
                  <a:gd name="T1" fmla="*/ 1401 h 1770"/>
                  <a:gd name="T2" fmla="*/ 303 w 1309"/>
                  <a:gd name="T3" fmla="*/ 1438 h 1770"/>
                  <a:gd name="T4" fmla="*/ 456 w 1309"/>
                  <a:gd name="T5" fmla="*/ 1457 h 1770"/>
                  <a:gd name="T6" fmla="*/ 615 w 1309"/>
                  <a:gd name="T7" fmla="*/ 1458 h 1770"/>
                  <a:gd name="T8" fmla="*/ 740 w 1309"/>
                  <a:gd name="T9" fmla="*/ 1434 h 1770"/>
                  <a:gd name="T10" fmla="*/ 790 w 1309"/>
                  <a:gd name="T11" fmla="*/ 1409 h 1770"/>
                  <a:gd name="T12" fmla="*/ 824 w 1309"/>
                  <a:gd name="T13" fmla="*/ 1378 h 1770"/>
                  <a:gd name="T14" fmla="*/ 843 w 1309"/>
                  <a:gd name="T15" fmla="*/ 1337 h 1770"/>
                  <a:gd name="T16" fmla="*/ 847 w 1309"/>
                  <a:gd name="T17" fmla="*/ 1285 h 1770"/>
                  <a:gd name="T18" fmla="*/ 824 w 1309"/>
                  <a:gd name="T19" fmla="*/ 1220 h 1770"/>
                  <a:gd name="T20" fmla="*/ 750 w 1309"/>
                  <a:gd name="T21" fmla="*/ 1161 h 1770"/>
                  <a:gd name="T22" fmla="*/ 571 w 1309"/>
                  <a:gd name="T23" fmla="*/ 1078 h 1770"/>
                  <a:gd name="T24" fmla="*/ 321 w 1309"/>
                  <a:gd name="T25" fmla="*/ 965 h 1770"/>
                  <a:gd name="T26" fmla="*/ 197 w 1309"/>
                  <a:gd name="T27" fmla="*/ 893 h 1770"/>
                  <a:gd name="T28" fmla="*/ 116 w 1309"/>
                  <a:gd name="T29" fmla="*/ 826 h 1770"/>
                  <a:gd name="T30" fmla="*/ 51 w 1309"/>
                  <a:gd name="T31" fmla="*/ 736 h 1770"/>
                  <a:gd name="T32" fmla="*/ 13 w 1309"/>
                  <a:gd name="T33" fmla="*/ 633 h 1770"/>
                  <a:gd name="T34" fmla="*/ 0 w 1309"/>
                  <a:gd name="T35" fmla="*/ 515 h 1770"/>
                  <a:gd name="T36" fmla="*/ 18 w 1309"/>
                  <a:gd name="T37" fmla="*/ 369 h 1770"/>
                  <a:gd name="T38" fmla="*/ 75 w 1309"/>
                  <a:gd name="T39" fmla="*/ 247 h 1770"/>
                  <a:gd name="T40" fmla="*/ 169 w 1309"/>
                  <a:gd name="T41" fmla="*/ 148 h 1770"/>
                  <a:gd name="T42" fmla="*/ 294 w 1309"/>
                  <a:gd name="T43" fmla="*/ 73 h 1770"/>
                  <a:gd name="T44" fmla="*/ 443 w 1309"/>
                  <a:gd name="T45" fmla="*/ 24 h 1770"/>
                  <a:gd name="T46" fmla="*/ 614 w 1309"/>
                  <a:gd name="T47" fmla="*/ 2 h 1770"/>
                  <a:gd name="T48" fmla="*/ 832 w 1309"/>
                  <a:gd name="T49" fmla="*/ 7 h 1770"/>
                  <a:gd name="T50" fmla="*/ 1134 w 1309"/>
                  <a:gd name="T51" fmla="*/ 54 h 1770"/>
                  <a:gd name="T52" fmla="*/ 1088 w 1309"/>
                  <a:gd name="T53" fmla="*/ 353 h 1770"/>
                  <a:gd name="T54" fmla="*/ 947 w 1309"/>
                  <a:gd name="T55" fmla="*/ 314 h 1770"/>
                  <a:gd name="T56" fmla="*/ 811 w 1309"/>
                  <a:gd name="T57" fmla="*/ 294 h 1770"/>
                  <a:gd name="T58" fmla="*/ 667 w 1309"/>
                  <a:gd name="T59" fmla="*/ 293 h 1770"/>
                  <a:gd name="T60" fmla="*/ 539 w 1309"/>
                  <a:gd name="T61" fmla="*/ 321 h 1770"/>
                  <a:gd name="T62" fmla="*/ 488 w 1309"/>
                  <a:gd name="T63" fmla="*/ 352 h 1770"/>
                  <a:gd name="T64" fmla="*/ 463 w 1309"/>
                  <a:gd name="T65" fmla="*/ 387 h 1770"/>
                  <a:gd name="T66" fmla="*/ 449 w 1309"/>
                  <a:gd name="T67" fmla="*/ 430 h 1770"/>
                  <a:gd name="T68" fmla="*/ 456 w 1309"/>
                  <a:gd name="T69" fmla="*/ 490 h 1770"/>
                  <a:gd name="T70" fmla="*/ 506 w 1309"/>
                  <a:gd name="T71" fmla="*/ 545 h 1770"/>
                  <a:gd name="T72" fmla="*/ 632 w 1309"/>
                  <a:gd name="T73" fmla="*/ 608 h 1770"/>
                  <a:gd name="T74" fmla="*/ 914 w 1309"/>
                  <a:gd name="T75" fmla="*/ 740 h 1770"/>
                  <a:gd name="T76" fmla="*/ 1101 w 1309"/>
                  <a:gd name="T77" fmla="*/ 846 h 1770"/>
                  <a:gd name="T78" fmla="*/ 1187 w 1309"/>
                  <a:gd name="T79" fmla="*/ 913 h 1770"/>
                  <a:gd name="T80" fmla="*/ 1251 w 1309"/>
                  <a:gd name="T81" fmla="*/ 997 h 1770"/>
                  <a:gd name="T82" fmla="*/ 1292 w 1309"/>
                  <a:gd name="T83" fmla="*/ 1094 h 1770"/>
                  <a:gd name="T84" fmla="*/ 1309 w 1309"/>
                  <a:gd name="T85" fmla="*/ 1204 h 1770"/>
                  <a:gd name="T86" fmla="*/ 1295 w 1309"/>
                  <a:gd name="T87" fmla="*/ 1358 h 1770"/>
                  <a:gd name="T88" fmla="*/ 1270 w 1309"/>
                  <a:gd name="T89" fmla="*/ 1432 h 1770"/>
                  <a:gd name="T90" fmla="*/ 1234 w 1309"/>
                  <a:gd name="T91" fmla="*/ 1499 h 1770"/>
                  <a:gd name="T92" fmla="*/ 1186 w 1309"/>
                  <a:gd name="T93" fmla="*/ 1559 h 1770"/>
                  <a:gd name="T94" fmla="*/ 1069 w 1309"/>
                  <a:gd name="T95" fmla="*/ 1651 h 1770"/>
                  <a:gd name="T96" fmla="*/ 936 w 1309"/>
                  <a:gd name="T97" fmla="*/ 1714 h 1770"/>
                  <a:gd name="T98" fmla="*/ 780 w 1309"/>
                  <a:gd name="T99" fmla="*/ 1752 h 1770"/>
                  <a:gd name="T100" fmla="*/ 601 w 1309"/>
                  <a:gd name="T101" fmla="*/ 1769 h 1770"/>
                  <a:gd name="T102" fmla="*/ 299 w 1309"/>
                  <a:gd name="T103" fmla="*/ 1754 h 17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309" h="1770">
                    <a:moveTo>
                      <a:pt x="34" y="1707"/>
                    </a:moveTo>
                    <a:lnTo>
                      <a:pt x="34" y="1371"/>
                    </a:lnTo>
                    <a:lnTo>
                      <a:pt x="69" y="1382"/>
                    </a:lnTo>
                    <a:lnTo>
                      <a:pt x="105" y="1392"/>
                    </a:lnTo>
                    <a:lnTo>
                      <a:pt x="138" y="1401"/>
                    </a:lnTo>
                    <a:lnTo>
                      <a:pt x="173" y="1410"/>
                    </a:lnTo>
                    <a:lnTo>
                      <a:pt x="206" y="1419"/>
                    </a:lnTo>
                    <a:lnTo>
                      <a:pt x="239" y="1426"/>
                    </a:lnTo>
                    <a:lnTo>
                      <a:pt x="272" y="1432"/>
                    </a:lnTo>
                    <a:lnTo>
                      <a:pt x="303" y="1438"/>
                    </a:lnTo>
                    <a:lnTo>
                      <a:pt x="335" y="1444"/>
                    </a:lnTo>
                    <a:lnTo>
                      <a:pt x="366" y="1448"/>
                    </a:lnTo>
                    <a:lnTo>
                      <a:pt x="396" y="1452"/>
                    </a:lnTo>
                    <a:lnTo>
                      <a:pt x="427" y="1455"/>
                    </a:lnTo>
                    <a:lnTo>
                      <a:pt x="456" y="1457"/>
                    </a:lnTo>
                    <a:lnTo>
                      <a:pt x="486" y="1459"/>
                    </a:lnTo>
                    <a:lnTo>
                      <a:pt x="515" y="1460"/>
                    </a:lnTo>
                    <a:lnTo>
                      <a:pt x="542" y="1461"/>
                    </a:lnTo>
                    <a:lnTo>
                      <a:pt x="580" y="1460"/>
                    </a:lnTo>
                    <a:lnTo>
                      <a:pt x="615" y="1458"/>
                    </a:lnTo>
                    <a:lnTo>
                      <a:pt x="646" y="1455"/>
                    </a:lnTo>
                    <a:lnTo>
                      <a:pt x="676" y="1451"/>
                    </a:lnTo>
                    <a:lnTo>
                      <a:pt x="703" y="1445"/>
                    </a:lnTo>
                    <a:lnTo>
                      <a:pt x="729" y="1438"/>
                    </a:lnTo>
                    <a:lnTo>
                      <a:pt x="740" y="1434"/>
                    </a:lnTo>
                    <a:lnTo>
                      <a:pt x="751" y="1430"/>
                    </a:lnTo>
                    <a:lnTo>
                      <a:pt x="761" y="1426"/>
                    </a:lnTo>
                    <a:lnTo>
                      <a:pt x="772" y="1421"/>
                    </a:lnTo>
                    <a:lnTo>
                      <a:pt x="781" y="1416"/>
                    </a:lnTo>
                    <a:lnTo>
                      <a:pt x="790" y="1409"/>
                    </a:lnTo>
                    <a:lnTo>
                      <a:pt x="798" y="1404"/>
                    </a:lnTo>
                    <a:lnTo>
                      <a:pt x="805" y="1398"/>
                    </a:lnTo>
                    <a:lnTo>
                      <a:pt x="812" y="1391"/>
                    </a:lnTo>
                    <a:lnTo>
                      <a:pt x="819" y="1385"/>
                    </a:lnTo>
                    <a:lnTo>
                      <a:pt x="824" y="1378"/>
                    </a:lnTo>
                    <a:lnTo>
                      <a:pt x="829" y="1370"/>
                    </a:lnTo>
                    <a:lnTo>
                      <a:pt x="834" y="1362"/>
                    </a:lnTo>
                    <a:lnTo>
                      <a:pt x="837" y="1354"/>
                    </a:lnTo>
                    <a:lnTo>
                      <a:pt x="841" y="1346"/>
                    </a:lnTo>
                    <a:lnTo>
                      <a:pt x="843" y="1337"/>
                    </a:lnTo>
                    <a:lnTo>
                      <a:pt x="845" y="1329"/>
                    </a:lnTo>
                    <a:lnTo>
                      <a:pt x="847" y="1319"/>
                    </a:lnTo>
                    <a:lnTo>
                      <a:pt x="848" y="1309"/>
                    </a:lnTo>
                    <a:lnTo>
                      <a:pt x="848" y="1299"/>
                    </a:lnTo>
                    <a:lnTo>
                      <a:pt x="847" y="1285"/>
                    </a:lnTo>
                    <a:lnTo>
                      <a:pt x="845" y="1271"/>
                    </a:lnTo>
                    <a:lnTo>
                      <a:pt x="842" y="1257"/>
                    </a:lnTo>
                    <a:lnTo>
                      <a:pt x="837" y="1244"/>
                    </a:lnTo>
                    <a:lnTo>
                      <a:pt x="831" y="1232"/>
                    </a:lnTo>
                    <a:lnTo>
                      <a:pt x="824" y="1220"/>
                    </a:lnTo>
                    <a:lnTo>
                      <a:pt x="814" y="1208"/>
                    </a:lnTo>
                    <a:lnTo>
                      <a:pt x="805" y="1198"/>
                    </a:lnTo>
                    <a:lnTo>
                      <a:pt x="791" y="1187"/>
                    </a:lnTo>
                    <a:lnTo>
                      <a:pt x="773" y="1175"/>
                    </a:lnTo>
                    <a:lnTo>
                      <a:pt x="750" y="1161"/>
                    </a:lnTo>
                    <a:lnTo>
                      <a:pt x="724" y="1146"/>
                    </a:lnTo>
                    <a:lnTo>
                      <a:pt x="692" y="1131"/>
                    </a:lnTo>
                    <a:lnTo>
                      <a:pt x="655" y="1114"/>
                    </a:lnTo>
                    <a:lnTo>
                      <a:pt x="616" y="1096"/>
                    </a:lnTo>
                    <a:lnTo>
                      <a:pt x="571" y="1078"/>
                    </a:lnTo>
                    <a:lnTo>
                      <a:pt x="490" y="1044"/>
                    </a:lnTo>
                    <a:lnTo>
                      <a:pt x="417" y="1011"/>
                    </a:lnTo>
                    <a:lnTo>
                      <a:pt x="383" y="996"/>
                    </a:lnTo>
                    <a:lnTo>
                      <a:pt x="351" y="980"/>
                    </a:lnTo>
                    <a:lnTo>
                      <a:pt x="321" y="965"/>
                    </a:lnTo>
                    <a:lnTo>
                      <a:pt x="293" y="950"/>
                    </a:lnTo>
                    <a:lnTo>
                      <a:pt x="267" y="936"/>
                    </a:lnTo>
                    <a:lnTo>
                      <a:pt x="241" y="922"/>
                    </a:lnTo>
                    <a:lnTo>
                      <a:pt x="219" y="907"/>
                    </a:lnTo>
                    <a:lnTo>
                      <a:pt x="197" y="893"/>
                    </a:lnTo>
                    <a:lnTo>
                      <a:pt x="178" y="880"/>
                    </a:lnTo>
                    <a:lnTo>
                      <a:pt x="161" y="866"/>
                    </a:lnTo>
                    <a:lnTo>
                      <a:pt x="145" y="854"/>
                    </a:lnTo>
                    <a:lnTo>
                      <a:pt x="131" y="842"/>
                    </a:lnTo>
                    <a:lnTo>
                      <a:pt x="116" y="826"/>
                    </a:lnTo>
                    <a:lnTo>
                      <a:pt x="100" y="808"/>
                    </a:lnTo>
                    <a:lnTo>
                      <a:pt x="86" y="791"/>
                    </a:lnTo>
                    <a:lnTo>
                      <a:pt x="74" y="774"/>
                    </a:lnTo>
                    <a:lnTo>
                      <a:pt x="62" y="755"/>
                    </a:lnTo>
                    <a:lnTo>
                      <a:pt x="51" y="736"/>
                    </a:lnTo>
                    <a:lnTo>
                      <a:pt x="41" y="716"/>
                    </a:lnTo>
                    <a:lnTo>
                      <a:pt x="32" y="696"/>
                    </a:lnTo>
                    <a:lnTo>
                      <a:pt x="25" y="676"/>
                    </a:lnTo>
                    <a:lnTo>
                      <a:pt x="18" y="654"/>
                    </a:lnTo>
                    <a:lnTo>
                      <a:pt x="13" y="633"/>
                    </a:lnTo>
                    <a:lnTo>
                      <a:pt x="8" y="610"/>
                    </a:lnTo>
                    <a:lnTo>
                      <a:pt x="4" y="587"/>
                    </a:lnTo>
                    <a:lnTo>
                      <a:pt x="2" y="563"/>
                    </a:lnTo>
                    <a:lnTo>
                      <a:pt x="0" y="540"/>
                    </a:lnTo>
                    <a:lnTo>
                      <a:pt x="0" y="515"/>
                    </a:lnTo>
                    <a:lnTo>
                      <a:pt x="1" y="484"/>
                    </a:lnTo>
                    <a:lnTo>
                      <a:pt x="3" y="454"/>
                    </a:lnTo>
                    <a:lnTo>
                      <a:pt x="7" y="424"/>
                    </a:lnTo>
                    <a:lnTo>
                      <a:pt x="12" y="397"/>
                    </a:lnTo>
                    <a:lnTo>
                      <a:pt x="18" y="369"/>
                    </a:lnTo>
                    <a:lnTo>
                      <a:pt x="26" y="343"/>
                    </a:lnTo>
                    <a:lnTo>
                      <a:pt x="36" y="317"/>
                    </a:lnTo>
                    <a:lnTo>
                      <a:pt x="47" y="293"/>
                    </a:lnTo>
                    <a:lnTo>
                      <a:pt x="61" y="269"/>
                    </a:lnTo>
                    <a:lnTo>
                      <a:pt x="75" y="247"/>
                    </a:lnTo>
                    <a:lnTo>
                      <a:pt x="90" y="225"/>
                    </a:lnTo>
                    <a:lnTo>
                      <a:pt x="108" y="204"/>
                    </a:lnTo>
                    <a:lnTo>
                      <a:pt x="127" y="185"/>
                    </a:lnTo>
                    <a:lnTo>
                      <a:pt x="146" y="165"/>
                    </a:lnTo>
                    <a:lnTo>
                      <a:pt x="169" y="148"/>
                    </a:lnTo>
                    <a:lnTo>
                      <a:pt x="192" y="131"/>
                    </a:lnTo>
                    <a:lnTo>
                      <a:pt x="217" y="115"/>
                    </a:lnTo>
                    <a:lnTo>
                      <a:pt x="241" y="100"/>
                    </a:lnTo>
                    <a:lnTo>
                      <a:pt x="268" y="86"/>
                    </a:lnTo>
                    <a:lnTo>
                      <a:pt x="294" y="73"/>
                    </a:lnTo>
                    <a:lnTo>
                      <a:pt x="322" y="61"/>
                    </a:lnTo>
                    <a:lnTo>
                      <a:pt x="351" y="51"/>
                    </a:lnTo>
                    <a:lnTo>
                      <a:pt x="381" y="41"/>
                    </a:lnTo>
                    <a:lnTo>
                      <a:pt x="412" y="33"/>
                    </a:lnTo>
                    <a:lnTo>
                      <a:pt x="443" y="24"/>
                    </a:lnTo>
                    <a:lnTo>
                      <a:pt x="475" y="18"/>
                    </a:lnTo>
                    <a:lnTo>
                      <a:pt x="508" y="12"/>
                    </a:lnTo>
                    <a:lnTo>
                      <a:pt x="543" y="8"/>
                    </a:lnTo>
                    <a:lnTo>
                      <a:pt x="578" y="4"/>
                    </a:lnTo>
                    <a:lnTo>
                      <a:pt x="614" y="2"/>
                    </a:lnTo>
                    <a:lnTo>
                      <a:pt x="650" y="0"/>
                    </a:lnTo>
                    <a:lnTo>
                      <a:pt x="688" y="0"/>
                    </a:lnTo>
                    <a:lnTo>
                      <a:pt x="733" y="0"/>
                    </a:lnTo>
                    <a:lnTo>
                      <a:pt x="781" y="3"/>
                    </a:lnTo>
                    <a:lnTo>
                      <a:pt x="832" y="7"/>
                    </a:lnTo>
                    <a:lnTo>
                      <a:pt x="886" y="13"/>
                    </a:lnTo>
                    <a:lnTo>
                      <a:pt x="943" y="20"/>
                    </a:lnTo>
                    <a:lnTo>
                      <a:pt x="1004" y="30"/>
                    </a:lnTo>
                    <a:lnTo>
                      <a:pt x="1067" y="42"/>
                    </a:lnTo>
                    <a:lnTo>
                      <a:pt x="1134" y="54"/>
                    </a:lnTo>
                    <a:lnTo>
                      <a:pt x="1177" y="61"/>
                    </a:lnTo>
                    <a:lnTo>
                      <a:pt x="1177" y="386"/>
                    </a:lnTo>
                    <a:lnTo>
                      <a:pt x="1147" y="374"/>
                    </a:lnTo>
                    <a:lnTo>
                      <a:pt x="1117" y="363"/>
                    </a:lnTo>
                    <a:lnTo>
                      <a:pt x="1088" y="353"/>
                    </a:lnTo>
                    <a:lnTo>
                      <a:pt x="1059" y="344"/>
                    </a:lnTo>
                    <a:lnTo>
                      <a:pt x="1031" y="336"/>
                    </a:lnTo>
                    <a:lnTo>
                      <a:pt x="1003" y="327"/>
                    </a:lnTo>
                    <a:lnTo>
                      <a:pt x="975" y="320"/>
                    </a:lnTo>
                    <a:lnTo>
                      <a:pt x="947" y="314"/>
                    </a:lnTo>
                    <a:lnTo>
                      <a:pt x="920" y="309"/>
                    </a:lnTo>
                    <a:lnTo>
                      <a:pt x="892" y="304"/>
                    </a:lnTo>
                    <a:lnTo>
                      <a:pt x="865" y="300"/>
                    </a:lnTo>
                    <a:lnTo>
                      <a:pt x="838" y="297"/>
                    </a:lnTo>
                    <a:lnTo>
                      <a:pt x="811" y="294"/>
                    </a:lnTo>
                    <a:lnTo>
                      <a:pt x="786" y="292"/>
                    </a:lnTo>
                    <a:lnTo>
                      <a:pt x="759" y="291"/>
                    </a:lnTo>
                    <a:lnTo>
                      <a:pt x="734" y="291"/>
                    </a:lnTo>
                    <a:lnTo>
                      <a:pt x="699" y="292"/>
                    </a:lnTo>
                    <a:lnTo>
                      <a:pt x="667" y="293"/>
                    </a:lnTo>
                    <a:lnTo>
                      <a:pt x="637" y="296"/>
                    </a:lnTo>
                    <a:lnTo>
                      <a:pt x="609" y="301"/>
                    </a:lnTo>
                    <a:lnTo>
                      <a:pt x="583" y="306"/>
                    </a:lnTo>
                    <a:lnTo>
                      <a:pt x="559" y="313"/>
                    </a:lnTo>
                    <a:lnTo>
                      <a:pt x="539" y="321"/>
                    </a:lnTo>
                    <a:lnTo>
                      <a:pt x="520" y="331"/>
                    </a:lnTo>
                    <a:lnTo>
                      <a:pt x="512" y="336"/>
                    </a:lnTo>
                    <a:lnTo>
                      <a:pt x="503" y="341"/>
                    </a:lnTo>
                    <a:lnTo>
                      <a:pt x="495" y="346"/>
                    </a:lnTo>
                    <a:lnTo>
                      <a:pt x="488" y="352"/>
                    </a:lnTo>
                    <a:lnTo>
                      <a:pt x="482" y="359"/>
                    </a:lnTo>
                    <a:lnTo>
                      <a:pt x="476" y="365"/>
                    </a:lnTo>
                    <a:lnTo>
                      <a:pt x="471" y="372"/>
                    </a:lnTo>
                    <a:lnTo>
                      <a:pt x="467" y="380"/>
                    </a:lnTo>
                    <a:lnTo>
                      <a:pt x="463" y="387"/>
                    </a:lnTo>
                    <a:lnTo>
                      <a:pt x="459" y="395"/>
                    </a:lnTo>
                    <a:lnTo>
                      <a:pt x="455" y="403"/>
                    </a:lnTo>
                    <a:lnTo>
                      <a:pt x="453" y="411"/>
                    </a:lnTo>
                    <a:lnTo>
                      <a:pt x="451" y="420"/>
                    </a:lnTo>
                    <a:lnTo>
                      <a:pt x="449" y="430"/>
                    </a:lnTo>
                    <a:lnTo>
                      <a:pt x="448" y="439"/>
                    </a:lnTo>
                    <a:lnTo>
                      <a:pt x="448" y="449"/>
                    </a:lnTo>
                    <a:lnTo>
                      <a:pt x="449" y="463"/>
                    </a:lnTo>
                    <a:lnTo>
                      <a:pt x="452" y="477"/>
                    </a:lnTo>
                    <a:lnTo>
                      <a:pt x="456" y="490"/>
                    </a:lnTo>
                    <a:lnTo>
                      <a:pt x="463" y="502"/>
                    </a:lnTo>
                    <a:lnTo>
                      <a:pt x="471" y="514"/>
                    </a:lnTo>
                    <a:lnTo>
                      <a:pt x="481" y="524"/>
                    </a:lnTo>
                    <a:lnTo>
                      <a:pt x="492" y="536"/>
                    </a:lnTo>
                    <a:lnTo>
                      <a:pt x="506" y="545"/>
                    </a:lnTo>
                    <a:lnTo>
                      <a:pt x="521" y="553"/>
                    </a:lnTo>
                    <a:lnTo>
                      <a:pt x="540" y="564"/>
                    </a:lnTo>
                    <a:lnTo>
                      <a:pt x="565" y="577"/>
                    </a:lnTo>
                    <a:lnTo>
                      <a:pt x="595" y="592"/>
                    </a:lnTo>
                    <a:lnTo>
                      <a:pt x="632" y="608"/>
                    </a:lnTo>
                    <a:lnTo>
                      <a:pt x="673" y="628"/>
                    </a:lnTo>
                    <a:lnTo>
                      <a:pt x="720" y="649"/>
                    </a:lnTo>
                    <a:lnTo>
                      <a:pt x="773" y="672"/>
                    </a:lnTo>
                    <a:lnTo>
                      <a:pt x="846" y="707"/>
                    </a:lnTo>
                    <a:lnTo>
                      <a:pt x="914" y="740"/>
                    </a:lnTo>
                    <a:lnTo>
                      <a:pt x="976" y="771"/>
                    </a:lnTo>
                    <a:lnTo>
                      <a:pt x="1031" y="802"/>
                    </a:lnTo>
                    <a:lnTo>
                      <a:pt x="1056" y="817"/>
                    </a:lnTo>
                    <a:lnTo>
                      <a:pt x="1080" y="832"/>
                    </a:lnTo>
                    <a:lnTo>
                      <a:pt x="1101" y="846"/>
                    </a:lnTo>
                    <a:lnTo>
                      <a:pt x="1122" y="860"/>
                    </a:lnTo>
                    <a:lnTo>
                      <a:pt x="1140" y="875"/>
                    </a:lnTo>
                    <a:lnTo>
                      <a:pt x="1157" y="888"/>
                    </a:lnTo>
                    <a:lnTo>
                      <a:pt x="1173" y="901"/>
                    </a:lnTo>
                    <a:lnTo>
                      <a:pt x="1187" y="913"/>
                    </a:lnTo>
                    <a:lnTo>
                      <a:pt x="1201" y="930"/>
                    </a:lnTo>
                    <a:lnTo>
                      <a:pt x="1215" y="945"/>
                    </a:lnTo>
                    <a:lnTo>
                      <a:pt x="1229" y="962"/>
                    </a:lnTo>
                    <a:lnTo>
                      <a:pt x="1241" y="979"/>
                    </a:lnTo>
                    <a:lnTo>
                      <a:pt x="1251" y="997"/>
                    </a:lnTo>
                    <a:lnTo>
                      <a:pt x="1261" y="1015"/>
                    </a:lnTo>
                    <a:lnTo>
                      <a:pt x="1270" y="1034"/>
                    </a:lnTo>
                    <a:lnTo>
                      <a:pt x="1279" y="1053"/>
                    </a:lnTo>
                    <a:lnTo>
                      <a:pt x="1286" y="1074"/>
                    </a:lnTo>
                    <a:lnTo>
                      <a:pt x="1292" y="1094"/>
                    </a:lnTo>
                    <a:lnTo>
                      <a:pt x="1298" y="1114"/>
                    </a:lnTo>
                    <a:lnTo>
                      <a:pt x="1302" y="1137"/>
                    </a:lnTo>
                    <a:lnTo>
                      <a:pt x="1305" y="1158"/>
                    </a:lnTo>
                    <a:lnTo>
                      <a:pt x="1307" y="1182"/>
                    </a:lnTo>
                    <a:lnTo>
                      <a:pt x="1309" y="1204"/>
                    </a:lnTo>
                    <a:lnTo>
                      <a:pt x="1309" y="1229"/>
                    </a:lnTo>
                    <a:lnTo>
                      <a:pt x="1308" y="1262"/>
                    </a:lnTo>
                    <a:lnTo>
                      <a:pt x="1306" y="1296"/>
                    </a:lnTo>
                    <a:lnTo>
                      <a:pt x="1301" y="1328"/>
                    </a:lnTo>
                    <a:lnTo>
                      <a:pt x="1295" y="1358"/>
                    </a:lnTo>
                    <a:lnTo>
                      <a:pt x="1291" y="1374"/>
                    </a:lnTo>
                    <a:lnTo>
                      <a:pt x="1286" y="1389"/>
                    </a:lnTo>
                    <a:lnTo>
                      <a:pt x="1282" y="1403"/>
                    </a:lnTo>
                    <a:lnTo>
                      <a:pt x="1276" y="1418"/>
                    </a:lnTo>
                    <a:lnTo>
                      <a:pt x="1270" y="1432"/>
                    </a:lnTo>
                    <a:lnTo>
                      <a:pt x="1263" y="1446"/>
                    </a:lnTo>
                    <a:lnTo>
                      <a:pt x="1257" y="1459"/>
                    </a:lnTo>
                    <a:lnTo>
                      <a:pt x="1250" y="1473"/>
                    </a:lnTo>
                    <a:lnTo>
                      <a:pt x="1242" y="1486"/>
                    </a:lnTo>
                    <a:lnTo>
                      <a:pt x="1234" y="1499"/>
                    </a:lnTo>
                    <a:lnTo>
                      <a:pt x="1225" y="1511"/>
                    </a:lnTo>
                    <a:lnTo>
                      <a:pt x="1216" y="1524"/>
                    </a:lnTo>
                    <a:lnTo>
                      <a:pt x="1206" y="1536"/>
                    </a:lnTo>
                    <a:lnTo>
                      <a:pt x="1196" y="1547"/>
                    </a:lnTo>
                    <a:lnTo>
                      <a:pt x="1186" y="1559"/>
                    </a:lnTo>
                    <a:lnTo>
                      <a:pt x="1175" y="1571"/>
                    </a:lnTo>
                    <a:lnTo>
                      <a:pt x="1151" y="1592"/>
                    </a:lnTo>
                    <a:lnTo>
                      <a:pt x="1126" y="1613"/>
                    </a:lnTo>
                    <a:lnTo>
                      <a:pt x="1099" y="1633"/>
                    </a:lnTo>
                    <a:lnTo>
                      <a:pt x="1069" y="1651"/>
                    </a:lnTo>
                    <a:lnTo>
                      <a:pt x="1045" y="1666"/>
                    </a:lnTo>
                    <a:lnTo>
                      <a:pt x="1018" y="1679"/>
                    </a:lnTo>
                    <a:lnTo>
                      <a:pt x="992" y="1691"/>
                    </a:lnTo>
                    <a:lnTo>
                      <a:pt x="964" y="1703"/>
                    </a:lnTo>
                    <a:lnTo>
                      <a:pt x="936" y="1714"/>
                    </a:lnTo>
                    <a:lnTo>
                      <a:pt x="906" y="1724"/>
                    </a:lnTo>
                    <a:lnTo>
                      <a:pt x="876" y="1732"/>
                    </a:lnTo>
                    <a:lnTo>
                      <a:pt x="845" y="1740"/>
                    </a:lnTo>
                    <a:lnTo>
                      <a:pt x="812" y="1747"/>
                    </a:lnTo>
                    <a:lnTo>
                      <a:pt x="780" y="1752"/>
                    </a:lnTo>
                    <a:lnTo>
                      <a:pt x="746" y="1757"/>
                    </a:lnTo>
                    <a:lnTo>
                      <a:pt x="710" y="1762"/>
                    </a:lnTo>
                    <a:lnTo>
                      <a:pt x="675" y="1766"/>
                    </a:lnTo>
                    <a:lnTo>
                      <a:pt x="639" y="1768"/>
                    </a:lnTo>
                    <a:lnTo>
                      <a:pt x="601" y="1769"/>
                    </a:lnTo>
                    <a:lnTo>
                      <a:pt x="563" y="1770"/>
                    </a:lnTo>
                    <a:lnTo>
                      <a:pt x="497" y="1769"/>
                    </a:lnTo>
                    <a:lnTo>
                      <a:pt x="431" y="1766"/>
                    </a:lnTo>
                    <a:lnTo>
                      <a:pt x="365" y="1761"/>
                    </a:lnTo>
                    <a:lnTo>
                      <a:pt x="299" y="1754"/>
                    </a:lnTo>
                    <a:lnTo>
                      <a:pt x="233" y="1745"/>
                    </a:lnTo>
                    <a:lnTo>
                      <a:pt x="167" y="1735"/>
                    </a:lnTo>
                    <a:lnTo>
                      <a:pt x="100" y="1722"/>
                    </a:lnTo>
                    <a:lnTo>
                      <a:pt x="34" y="1707"/>
                    </a:lnTo>
                    <a:close/>
                  </a:path>
                </a:pathLst>
              </a:custGeom>
              <a:solidFill>
                <a:srgbClr val="B8B8B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fr-FR"/>
              </a:p>
            </p:txBody>
          </p:sp>
        </p:grpSp>
        <p:grpSp>
          <p:nvGrpSpPr>
            <p:cNvPr id="283" name="Gruppieren 282"/>
            <p:cNvGrpSpPr/>
            <p:nvPr/>
          </p:nvGrpSpPr>
          <p:grpSpPr bwMode="gray">
            <a:xfrm>
              <a:off x="2276780" y="4886983"/>
              <a:ext cx="66598" cy="155398"/>
              <a:chOff x="10923711" y="5301208"/>
              <a:chExt cx="108012" cy="252028"/>
            </a:xfrm>
          </p:grpSpPr>
          <p:sp>
            <p:nvSpPr>
              <p:cNvPr id="284" name="Abgerundetes Rechteck 283"/>
              <p:cNvSpPr/>
              <p:nvPr/>
            </p:nvSpPr>
            <p:spPr bwMode="gray">
              <a:xfrm>
                <a:off x="10923711" y="5301208"/>
                <a:ext cx="108012" cy="252028"/>
              </a:xfrm>
              <a:prstGeom prst="roundRect">
                <a:avLst>
                  <a:gd name="adj" fmla="val 49736"/>
                </a:avLst>
              </a:prstGeom>
              <a:solidFill>
                <a:srgbClr val="3C464B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285" name="Gruppieren 284"/>
              <p:cNvGrpSpPr/>
              <p:nvPr/>
            </p:nvGrpSpPr>
            <p:grpSpPr bwMode="gray">
              <a:xfrm>
                <a:off x="10954858" y="5332355"/>
                <a:ext cx="45719" cy="189735"/>
                <a:chOff x="10950439" y="5337212"/>
                <a:chExt cx="45719" cy="189735"/>
              </a:xfrm>
            </p:grpSpPr>
            <p:sp>
              <p:nvSpPr>
                <p:cNvPr id="286" name="Ellipse 285"/>
                <p:cNvSpPr/>
                <p:nvPr/>
              </p:nvSpPr>
              <p:spPr bwMode="gray">
                <a:xfrm>
                  <a:off x="10950439" y="5337212"/>
                  <a:ext cx="45719" cy="45719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287" name="Ellipse 286"/>
                <p:cNvSpPr/>
                <p:nvPr/>
              </p:nvSpPr>
              <p:spPr bwMode="gray">
                <a:xfrm>
                  <a:off x="10950439" y="5481228"/>
                  <a:ext cx="45719" cy="45719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</p:grpSp>
      <p:sp>
        <p:nvSpPr>
          <p:cNvPr id="106" name="Freeform 65"/>
          <p:cNvSpPr>
            <a:spLocks/>
          </p:cNvSpPr>
          <p:nvPr/>
        </p:nvSpPr>
        <p:spPr bwMode="gray">
          <a:xfrm>
            <a:off x="9235076" y="2622620"/>
            <a:ext cx="1194826" cy="2783198"/>
          </a:xfrm>
          <a:custGeom>
            <a:avLst/>
            <a:gdLst>
              <a:gd name="T0" fmla="*/ 0 w 2022"/>
              <a:gd name="T1" fmla="*/ 250 h 4710"/>
              <a:gd name="T2" fmla="*/ 2022 w 2022"/>
              <a:gd name="T3" fmla="*/ 0 h 4710"/>
              <a:gd name="T4" fmla="*/ 2022 w 2022"/>
              <a:gd name="T5" fmla="*/ 4710 h 4710"/>
              <a:gd name="T6" fmla="*/ 0 w 2022"/>
              <a:gd name="T7" fmla="*/ 4224 h 4710"/>
              <a:gd name="T8" fmla="*/ 0 w 2022"/>
              <a:gd name="T9" fmla="*/ 250 h 47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2" h="4710">
                <a:moveTo>
                  <a:pt x="0" y="250"/>
                </a:moveTo>
                <a:lnTo>
                  <a:pt x="2022" y="0"/>
                </a:lnTo>
                <a:lnTo>
                  <a:pt x="2022" y="4710"/>
                </a:lnTo>
                <a:lnTo>
                  <a:pt x="0" y="4224"/>
                </a:lnTo>
                <a:lnTo>
                  <a:pt x="0" y="25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 cap="rnd">
            <a:solidFill>
              <a:srgbClr val="BECD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7" name="Freeform 66"/>
          <p:cNvSpPr>
            <a:spLocks/>
          </p:cNvSpPr>
          <p:nvPr/>
        </p:nvSpPr>
        <p:spPr bwMode="gray">
          <a:xfrm>
            <a:off x="9235076" y="2758530"/>
            <a:ext cx="104000" cy="2360104"/>
          </a:xfrm>
          <a:custGeom>
            <a:avLst/>
            <a:gdLst>
              <a:gd name="T0" fmla="*/ 176 w 176"/>
              <a:gd name="T1" fmla="*/ 3916 h 3994"/>
              <a:gd name="T2" fmla="*/ 0 w 176"/>
              <a:gd name="T3" fmla="*/ 3994 h 3994"/>
              <a:gd name="T4" fmla="*/ 0 w 176"/>
              <a:gd name="T5" fmla="*/ 20 h 3994"/>
              <a:gd name="T6" fmla="*/ 176 w 176"/>
              <a:gd name="T7" fmla="*/ 0 h 3994"/>
              <a:gd name="T8" fmla="*/ 176 w 176"/>
              <a:gd name="T9" fmla="*/ 3916 h 3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76" h="3994">
                <a:moveTo>
                  <a:pt x="176" y="3916"/>
                </a:moveTo>
                <a:lnTo>
                  <a:pt x="0" y="3994"/>
                </a:lnTo>
                <a:lnTo>
                  <a:pt x="0" y="20"/>
                </a:lnTo>
                <a:lnTo>
                  <a:pt x="176" y="0"/>
                </a:lnTo>
                <a:lnTo>
                  <a:pt x="176" y="3916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cap="rnd">
            <a:solidFill>
              <a:srgbClr val="BECD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5" name="Freeform 76"/>
          <p:cNvSpPr>
            <a:spLocks/>
          </p:cNvSpPr>
          <p:nvPr/>
        </p:nvSpPr>
        <p:spPr bwMode="gray">
          <a:xfrm>
            <a:off x="9909899" y="4961452"/>
            <a:ext cx="547186" cy="187910"/>
          </a:xfrm>
          <a:custGeom>
            <a:avLst/>
            <a:gdLst>
              <a:gd name="T0" fmla="*/ 0 w 926"/>
              <a:gd name="T1" fmla="*/ 174 h 318"/>
              <a:gd name="T2" fmla="*/ 254 w 926"/>
              <a:gd name="T3" fmla="*/ 0 h 318"/>
              <a:gd name="T4" fmla="*/ 926 w 926"/>
              <a:gd name="T5" fmla="*/ 144 h 318"/>
              <a:gd name="T6" fmla="*/ 672 w 926"/>
              <a:gd name="T7" fmla="*/ 318 h 318"/>
              <a:gd name="T8" fmla="*/ 0 w 926"/>
              <a:gd name="T9" fmla="*/ 174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26" h="318">
                <a:moveTo>
                  <a:pt x="0" y="174"/>
                </a:moveTo>
                <a:lnTo>
                  <a:pt x="254" y="0"/>
                </a:lnTo>
                <a:lnTo>
                  <a:pt x="926" y="144"/>
                </a:lnTo>
                <a:lnTo>
                  <a:pt x="672" y="318"/>
                </a:lnTo>
                <a:lnTo>
                  <a:pt x="0" y="174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6" name="Freeform 77"/>
          <p:cNvSpPr>
            <a:spLocks/>
          </p:cNvSpPr>
          <p:nvPr/>
        </p:nvSpPr>
        <p:spPr bwMode="gray">
          <a:xfrm>
            <a:off x="9548260" y="3755990"/>
            <a:ext cx="511731" cy="1308281"/>
          </a:xfrm>
          <a:custGeom>
            <a:avLst/>
            <a:gdLst>
              <a:gd name="T0" fmla="*/ 0 w 866"/>
              <a:gd name="T1" fmla="*/ 174 h 2214"/>
              <a:gd name="T2" fmla="*/ 254 w 866"/>
              <a:gd name="T3" fmla="*/ 0 h 2214"/>
              <a:gd name="T4" fmla="*/ 866 w 866"/>
              <a:gd name="T5" fmla="*/ 2040 h 2214"/>
              <a:gd name="T6" fmla="*/ 612 w 866"/>
              <a:gd name="T7" fmla="*/ 2214 h 2214"/>
              <a:gd name="T8" fmla="*/ 0 w 866"/>
              <a:gd name="T9" fmla="*/ 174 h 2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866" h="2214">
                <a:moveTo>
                  <a:pt x="0" y="174"/>
                </a:moveTo>
                <a:lnTo>
                  <a:pt x="254" y="0"/>
                </a:lnTo>
                <a:lnTo>
                  <a:pt x="866" y="2040"/>
                </a:lnTo>
                <a:lnTo>
                  <a:pt x="612" y="2214"/>
                </a:lnTo>
                <a:lnTo>
                  <a:pt x="0" y="174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7" name="Freeform 78"/>
          <p:cNvSpPr>
            <a:spLocks/>
          </p:cNvSpPr>
          <p:nvPr/>
        </p:nvSpPr>
        <p:spPr bwMode="gray">
          <a:xfrm>
            <a:off x="9922899" y="3763082"/>
            <a:ext cx="534185" cy="1386281"/>
          </a:xfrm>
          <a:custGeom>
            <a:avLst/>
            <a:gdLst>
              <a:gd name="T0" fmla="*/ 0 w 904"/>
              <a:gd name="T1" fmla="*/ 174 h 2346"/>
              <a:gd name="T2" fmla="*/ 254 w 904"/>
              <a:gd name="T3" fmla="*/ 0 h 2346"/>
              <a:gd name="T4" fmla="*/ 904 w 904"/>
              <a:gd name="T5" fmla="*/ 2172 h 2346"/>
              <a:gd name="T6" fmla="*/ 650 w 904"/>
              <a:gd name="T7" fmla="*/ 2346 h 2346"/>
              <a:gd name="T8" fmla="*/ 0 w 904"/>
              <a:gd name="T9" fmla="*/ 174 h 2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04" h="2346">
                <a:moveTo>
                  <a:pt x="0" y="174"/>
                </a:moveTo>
                <a:lnTo>
                  <a:pt x="254" y="0"/>
                </a:lnTo>
                <a:lnTo>
                  <a:pt x="904" y="2172"/>
                </a:lnTo>
                <a:lnTo>
                  <a:pt x="650" y="2346"/>
                </a:lnTo>
                <a:lnTo>
                  <a:pt x="0" y="174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8" name="Freeform 79"/>
          <p:cNvSpPr>
            <a:spLocks/>
          </p:cNvSpPr>
          <p:nvPr/>
        </p:nvSpPr>
        <p:spPr bwMode="gray">
          <a:xfrm>
            <a:off x="9928808" y="3752445"/>
            <a:ext cx="541277" cy="1408735"/>
          </a:xfrm>
          <a:custGeom>
            <a:avLst/>
            <a:gdLst>
              <a:gd name="T0" fmla="*/ 0 w 916"/>
              <a:gd name="T1" fmla="*/ 172 h 2384"/>
              <a:gd name="T2" fmla="*/ 254 w 916"/>
              <a:gd name="T3" fmla="*/ 0 h 2384"/>
              <a:gd name="T4" fmla="*/ 916 w 916"/>
              <a:gd name="T5" fmla="*/ 2212 h 2384"/>
              <a:gd name="T6" fmla="*/ 662 w 916"/>
              <a:gd name="T7" fmla="*/ 2384 h 2384"/>
              <a:gd name="T8" fmla="*/ 0 w 916"/>
              <a:gd name="T9" fmla="*/ 172 h 2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6" h="2384">
                <a:moveTo>
                  <a:pt x="0" y="172"/>
                </a:moveTo>
                <a:lnTo>
                  <a:pt x="254" y="0"/>
                </a:lnTo>
                <a:lnTo>
                  <a:pt x="916" y="2212"/>
                </a:lnTo>
                <a:lnTo>
                  <a:pt x="662" y="2384"/>
                </a:lnTo>
                <a:lnTo>
                  <a:pt x="0" y="172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19" name="Freeform 80"/>
          <p:cNvSpPr>
            <a:spLocks noEditPoints="1"/>
          </p:cNvSpPr>
          <p:nvPr/>
        </p:nvSpPr>
        <p:spPr bwMode="gray">
          <a:xfrm>
            <a:off x="9536441" y="3846991"/>
            <a:ext cx="783550" cy="1314190"/>
          </a:xfrm>
          <a:custGeom>
            <a:avLst/>
            <a:gdLst>
              <a:gd name="T0" fmla="*/ 0 w 1326"/>
              <a:gd name="T1" fmla="*/ 0 h 2224"/>
              <a:gd name="T2" fmla="*/ 664 w 1326"/>
              <a:gd name="T3" fmla="*/ 12 h 2224"/>
              <a:gd name="T4" fmla="*/ 1326 w 1326"/>
              <a:gd name="T5" fmla="*/ 2224 h 2224"/>
              <a:gd name="T6" fmla="*/ 620 w 1326"/>
              <a:gd name="T7" fmla="*/ 2076 h 2224"/>
              <a:gd name="T8" fmla="*/ 618 w 1326"/>
              <a:gd name="T9" fmla="*/ 2068 h 2224"/>
              <a:gd name="T10" fmla="*/ 0 w 1326"/>
              <a:gd name="T11" fmla="*/ 0 h 2224"/>
              <a:gd name="T12" fmla="*/ 1304 w 1326"/>
              <a:gd name="T13" fmla="*/ 2204 h 2224"/>
              <a:gd name="T14" fmla="*/ 654 w 1326"/>
              <a:gd name="T15" fmla="*/ 32 h 2224"/>
              <a:gd name="T16" fmla="*/ 20 w 1326"/>
              <a:gd name="T17" fmla="*/ 20 h 2224"/>
              <a:gd name="T18" fmla="*/ 632 w 1326"/>
              <a:gd name="T19" fmla="*/ 2060 h 2224"/>
              <a:gd name="T20" fmla="*/ 1304 w 1326"/>
              <a:gd name="T21" fmla="*/ 2204 h 2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26" h="2224">
                <a:moveTo>
                  <a:pt x="0" y="0"/>
                </a:moveTo>
                <a:lnTo>
                  <a:pt x="664" y="12"/>
                </a:lnTo>
                <a:lnTo>
                  <a:pt x="1326" y="2224"/>
                </a:lnTo>
                <a:lnTo>
                  <a:pt x="620" y="2076"/>
                </a:lnTo>
                <a:lnTo>
                  <a:pt x="618" y="2068"/>
                </a:lnTo>
                <a:lnTo>
                  <a:pt x="0" y="0"/>
                </a:lnTo>
                <a:close/>
                <a:moveTo>
                  <a:pt x="1304" y="2204"/>
                </a:moveTo>
                <a:lnTo>
                  <a:pt x="654" y="32"/>
                </a:lnTo>
                <a:lnTo>
                  <a:pt x="20" y="20"/>
                </a:lnTo>
                <a:lnTo>
                  <a:pt x="632" y="2060"/>
                </a:lnTo>
                <a:lnTo>
                  <a:pt x="1304" y="2204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0" name="Freeform 81"/>
          <p:cNvSpPr>
            <a:spLocks noEditPoints="1"/>
          </p:cNvSpPr>
          <p:nvPr/>
        </p:nvSpPr>
        <p:spPr bwMode="gray">
          <a:xfrm>
            <a:off x="9536441" y="3852325"/>
            <a:ext cx="783550" cy="1314190"/>
          </a:xfrm>
          <a:custGeom>
            <a:avLst/>
            <a:gdLst>
              <a:gd name="T0" fmla="*/ 0 w 1326"/>
              <a:gd name="T1" fmla="*/ 0 h 2224"/>
              <a:gd name="T2" fmla="*/ 664 w 1326"/>
              <a:gd name="T3" fmla="*/ 12 h 2224"/>
              <a:gd name="T4" fmla="*/ 1326 w 1326"/>
              <a:gd name="T5" fmla="*/ 2224 h 2224"/>
              <a:gd name="T6" fmla="*/ 620 w 1326"/>
              <a:gd name="T7" fmla="*/ 2076 h 2224"/>
              <a:gd name="T8" fmla="*/ 618 w 1326"/>
              <a:gd name="T9" fmla="*/ 2068 h 2224"/>
              <a:gd name="T10" fmla="*/ 0 w 1326"/>
              <a:gd name="T11" fmla="*/ 0 h 2224"/>
              <a:gd name="T12" fmla="*/ 1304 w 1326"/>
              <a:gd name="T13" fmla="*/ 2204 h 2224"/>
              <a:gd name="T14" fmla="*/ 654 w 1326"/>
              <a:gd name="T15" fmla="*/ 32 h 2224"/>
              <a:gd name="T16" fmla="*/ 20 w 1326"/>
              <a:gd name="T17" fmla="*/ 20 h 2224"/>
              <a:gd name="T18" fmla="*/ 632 w 1326"/>
              <a:gd name="T19" fmla="*/ 2060 h 2224"/>
              <a:gd name="T20" fmla="*/ 1304 w 1326"/>
              <a:gd name="T21" fmla="*/ 2204 h 22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326" h="2224">
                <a:moveTo>
                  <a:pt x="0" y="0"/>
                </a:moveTo>
                <a:lnTo>
                  <a:pt x="664" y="12"/>
                </a:lnTo>
                <a:lnTo>
                  <a:pt x="1326" y="2224"/>
                </a:lnTo>
                <a:lnTo>
                  <a:pt x="620" y="2076"/>
                </a:lnTo>
                <a:lnTo>
                  <a:pt x="618" y="2068"/>
                </a:lnTo>
                <a:lnTo>
                  <a:pt x="0" y="0"/>
                </a:lnTo>
                <a:moveTo>
                  <a:pt x="1304" y="2204"/>
                </a:moveTo>
                <a:lnTo>
                  <a:pt x="654" y="32"/>
                </a:lnTo>
                <a:lnTo>
                  <a:pt x="20" y="20"/>
                </a:lnTo>
                <a:lnTo>
                  <a:pt x="632" y="2060"/>
                </a:lnTo>
                <a:lnTo>
                  <a:pt x="1304" y="2204"/>
                </a:lnTo>
              </a:path>
            </a:pathLst>
          </a:custGeom>
          <a:solidFill>
            <a:srgbClr val="4BB9B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1" name="Freeform 85"/>
          <p:cNvSpPr>
            <a:spLocks/>
          </p:cNvSpPr>
          <p:nvPr/>
        </p:nvSpPr>
        <p:spPr bwMode="gray">
          <a:xfrm>
            <a:off x="10429902" y="2622620"/>
            <a:ext cx="460912" cy="2783198"/>
          </a:xfrm>
          <a:custGeom>
            <a:avLst/>
            <a:gdLst>
              <a:gd name="T0" fmla="*/ 333 w 390"/>
              <a:gd name="T1" fmla="*/ 2302 h 2355"/>
              <a:gd name="T2" fmla="*/ 0 w 390"/>
              <a:gd name="T3" fmla="*/ 2355 h 2355"/>
              <a:gd name="T4" fmla="*/ 0 w 390"/>
              <a:gd name="T5" fmla="*/ 0 h 2355"/>
              <a:gd name="T6" fmla="*/ 310 w 390"/>
              <a:gd name="T7" fmla="*/ 94 h 2355"/>
              <a:gd name="T8" fmla="*/ 390 w 390"/>
              <a:gd name="T9" fmla="*/ 201 h 2355"/>
              <a:gd name="T10" fmla="*/ 390 w 390"/>
              <a:gd name="T11" fmla="*/ 2236 h 2355"/>
              <a:gd name="T12" fmla="*/ 333 w 390"/>
              <a:gd name="T13" fmla="*/ 2302 h 23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390" h="2355">
                <a:moveTo>
                  <a:pt x="333" y="2302"/>
                </a:moveTo>
                <a:cubicBezTo>
                  <a:pt x="0" y="2355"/>
                  <a:pt x="0" y="2355"/>
                  <a:pt x="0" y="2355"/>
                </a:cubicBezTo>
                <a:cubicBezTo>
                  <a:pt x="0" y="0"/>
                  <a:pt x="0" y="0"/>
                  <a:pt x="0" y="0"/>
                </a:cubicBezTo>
                <a:cubicBezTo>
                  <a:pt x="310" y="94"/>
                  <a:pt x="310" y="94"/>
                  <a:pt x="310" y="94"/>
                </a:cubicBezTo>
                <a:cubicBezTo>
                  <a:pt x="358" y="108"/>
                  <a:pt x="390" y="151"/>
                  <a:pt x="390" y="201"/>
                </a:cubicBezTo>
                <a:cubicBezTo>
                  <a:pt x="390" y="2236"/>
                  <a:pt x="390" y="2236"/>
                  <a:pt x="390" y="2236"/>
                </a:cubicBezTo>
                <a:cubicBezTo>
                  <a:pt x="390" y="2269"/>
                  <a:pt x="366" y="2297"/>
                  <a:pt x="333" y="2302"/>
                </a:cubicBezTo>
                <a:close/>
              </a:path>
            </a:pathLst>
          </a:custGeom>
          <a:solidFill>
            <a:srgbClr val="FFFFFF"/>
          </a:solidFill>
          <a:ln w="9525" cap="flat">
            <a:solidFill>
              <a:srgbClr val="BECD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2" name="Freeform 103"/>
          <p:cNvSpPr>
            <a:spLocks/>
          </p:cNvSpPr>
          <p:nvPr/>
        </p:nvSpPr>
        <p:spPr bwMode="gray">
          <a:xfrm>
            <a:off x="10565812" y="4903542"/>
            <a:ext cx="80364" cy="354547"/>
          </a:xfrm>
          <a:custGeom>
            <a:avLst/>
            <a:gdLst>
              <a:gd name="T0" fmla="*/ 57 w 68"/>
              <a:gd name="T1" fmla="*/ 0 h 300"/>
              <a:gd name="T2" fmla="*/ 12 w 68"/>
              <a:gd name="T3" fmla="*/ 4 h 300"/>
              <a:gd name="T4" fmla="*/ 1 w 68"/>
              <a:gd name="T5" fmla="*/ 17 h 300"/>
              <a:gd name="T6" fmla="*/ 0 w 68"/>
              <a:gd name="T7" fmla="*/ 289 h 300"/>
              <a:gd name="T8" fmla="*/ 11 w 68"/>
              <a:gd name="T9" fmla="*/ 299 h 300"/>
              <a:gd name="T10" fmla="*/ 56 w 68"/>
              <a:gd name="T11" fmla="*/ 293 h 300"/>
              <a:gd name="T12" fmla="*/ 68 w 68"/>
              <a:gd name="T13" fmla="*/ 280 h 300"/>
              <a:gd name="T14" fmla="*/ 68 w 68"/>
              <a:gd name="T15" fmla="*/ 11 h 300"/>
              <a:gd name="T16" fmla="*/ 57 w 68"/>
              <a:gd name="T17" fmla="*/ 0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300">
                <a:moveTo>
                  <a:pt x="57" y="0"/>
                </a:moveTo>
                <a:cubicBezTo>
                  <a:pt x="12" y="4"/>
                  <a:pt x="12" y="4"/>
                  <a:pt x="12" y="4"/>
                </a:cubicBezTo>
                <a:cubicBezTo>
                  <a:pt x="6" y="4"/>
                  <a:pt x="1" y="10"/>
                  <a:pt x="1" y="17"/>
                </a:cubicBezTo>
                <a:cubicBezTo>
                  <a:pt x="0" y="289"/>
                  <a:pt x="0" y="289"/>
                  <a:pt x="0" y="289"/>
                </a:cubicBezTo>
                <a:cubicBezTo>
                  <a:pt x="0" y="295"/>
                  <a:pt x="5" y="300"/>
                  <a:pt x="11" y="299"/>
                </a:cubicBezTo>
                <a:cubicBezTo>
                  <a:pt x="56" y="293"/>
                  <a:pt x="56" y="293"/>
                  <a:pt x="56" y="293"/>
                </a:cubicBezTo>
                <a:cubicBezTo>
                  <a:pt x="63" y="292"/>
                  <a:pt x="68" y="286"/>
                  <a:pt x="68" y="280"/>
                </a:cubicBezTo>
                <a:cubicBezTo>
                  <a:pt x="68" y="11"/>
                  <a:pt x="68" y="11"/>
                  <a:pt x="68" y="11"/>
                </a:cubicBezTo>
                <a:cubicBezTo>
                  <a:pt x="68" y="5"/>
                  <a:pt x="63" y="0"/>
                  <a:pt x="57" y="0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3" name="Freeform 104"/>
          <p:cNvSpPr>
            <a:spLocks/>
          </p:cNvSpPr>
          <p:nvPr/>
        </p:nvSpPr>
        <p:spPr bwMode="gray">
          <a:xfrm>
            <a:off x="10675722" y="4895270"/>
            <a:ext cx="80364" cy="347457"/>
          </a:xfrm>
          <a:custGeom>
            <a:avLst/>
            <a:gdLst>
              <a:gd name="T0" fmla="*/ 57 w 68"/>
              <a:gd name="T1" fmla="*/ 1 h 294"/>
              <a:gd name="T2" fmla="*/ 12 w 68"/>
              <a:gd name="T3" fmla="*/ 4 h 294"/>
              <a:gd name="T4" fmla="*/ 1 w 68"/>
              <a:gd name="T5" fmla="*/ 17 h 294"/>
              <a:gd name="T6" fmla="*/ 0 w 68"/>
              <a:gd name="T7" fmla="*/ 283 h 294"/>
              <a:gd name="T8" fmla="*/ 11 w 68"/>
              <a:gd name="T9" fmla="*/ 294 h 294"/>
              <a:gd name="T10" fmla="*/ 56 w 68"/>
              <a:gd name="T11" fmla="*/ 288 h 294"/>
              <a:gd name="T12" fmla="*/ 68 w 68"/>
              <a:gd name="T13" fmla="*/ 274 h 294"/>
              <a:gd name="T14" fmla="*/ 68 w 68"/>
              <a:gd name="T15" fmla="*/ 12 h 294"/>
              <a:gd name="T16" fmla="*/ 57 w 68"/>
              <a:gd name="T17" fmla="*/ 1 h 2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4">
                <a:moveTo>
                  <a:pt x="57" y="1"/>
                </a:moveTo>
                <a:cubicBezTo>
                  <a:pt x="12" y="4"/>
                  <a:pt x="12" y="4"/>
                  <a:pt x="12" y="4"/>
                </a:cubicBezTo>
                <a:cubicBezTo>
                  <a:pt x="6" y="4"/>
                  <a:pt x="1" y="10"/>
                  <a:pt x="1" y="17"/>
                </a:cubicBezTo>
                <a:cubicBezTo>
                  <a:pt x="0" y="283"/>
                  <a:pt x="0" y="283"/>
                  <a:pt x="0" y="283"/>
                </a:cubicBezTo>
                <a:cubicBezTo>
                  <a:pt x="0" y="290"/>
                  <a:pt x="5" y="294"/>
                  <a:pt x="11" y="294"/>
                </a:cubicBezTo>
                <a:cubicBezTo>
                  <a:pt x="56" y="288"/>
                  <a:pt x="56" y="288"/>
                  <a:pt x="56" y="288"/>
                </a:cubicBezTo>
                <a:cubicBezTo>
                  <a:pt x="63" y="287"/>
                  <a:pt x="68" y="281"/>
                  <a:pt x="68" y="274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63" y="0"/>
                  <a:pt x="57" y="1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4" name="Freeform 105"/>
          <p:cNvSpPr>
            <a:spLocks/>
          </p:cNvSpPr>
          <p:nvPr/>
        </p:nvSpPr>
        <p:spPr bwMode="gray">
          <a:xfrm>
            <a:off x="10566994" y="4486358"/>
            <a:ext cx="80364" cy="349820"/>
          </a:xfrm>
          <a:custGeom>
            <a:avLst/>
            <a:gdLst>
              <a:gd name="T0" fmla="*/ 57 w 68"/>
              <a:gd name="T1" fmla="*/ 0 h 296"/>
              <a:gd name="T2" fmla="*/ 12 w 68"/>
              <a:gd name="T3" fmla="*/ 0 h 296"/>
              <a:gd name="T4" fmla="*/ 0 w 68"/>
              <a:gd name="T5" fmla="*/ 12 h 296"/>
              <a:gd name="T6" fmla="*/ 0 w 68"/>
              <a:gd name="T7" fmla="*/ 284 h 296"/>
              <a:gd name="T8" fmla="*/ 11 w 68"/>
              <a:gd name="T9" fmla="*/ 295 h 296"/>
              <a:gd name="T10" fmla="*/ 56 w 68"/>
              <a:gd name="T11" fmla="*/ 293 h 296"/>
              <a:gd name="T12" fmla="*/ 67 w 68"/>
              <a:gd name="T13" fmla="*/ 280 h 296"/>
              <a:gd name="T14" fmla="*/ 68 w 68"/>
              <a:gd name="T15" fmla="*/ 12 h 296"/>
              <a:gd name="T16" fmla="*/ 57 w 68"/>
              <a:gd name="T17" fmla="*/ 0 h 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6">
                <a:moveTo>
                  <a:pt x="57" y="0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284"/>
                  <a:pt x="0" y="284"/>
                  <a:pt x="0" y="284"/>
                </a:cubicBezTo>
                <a:cubicBezTo>
                  <a:pt x="0" y="291"/>
                  <a:pt x="5" y="296"/>
                  <a:pt x="11" y="295"/>
                </a:cubicBezTo>
                <a:cubicBezTo>
                  <a:pt x="56" y="293"/>
                  <a:pt x="56" y="293"/>
                  <a:pt x="56" y="293"/>
                </a:cubicBezTo>
                <a:cubicBezTo>
                  <a:pt x="62" y="292"/>
                  <a:pt x="67" y="287"/>
                  <a:pt x="67" y="280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5"/>
                  <a:pt x="63" y="0"/>
                  <a:pt x="57" y="0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5" name="Freeform 106"/>
          <p:cNvSpPr>
            <a:spLocks/>
          </p:cNvSpPr>
          <p:nvPr/>
        </p:nvSpPr>
        <p:spPr bwMode="gray">
          <a:xfrm>
            <a:off x="10676903" y="4486358"/>
            <a:ext cx="80364" cy="342729"/>
          </a:xfrm>
          <a:custGeom>
            <a:avLst/>
            <a:gdLst>
              <a:gd name="T0" fmla="*/ 57 w 68"/>
              <a:gd name="T1" fmla="*/ 1 h 290"/>
              <a:gd name="T2" fmla="*/ 12 w 68"/>
              <a:gd name="T3" fmla="*/ 0 h 290"/>
              <a:gd name="T4" fmla="*/ 0 w 68"/>
              <a:gd name="T5" fmla="*/ 12 h 290"/>
              <a:gd name="T6" fmla="*/ 0 w 68"/>
              <a:gd name="T7" fmla="*/ 279 h 290"/>
              <a:gd name="T8" fmla="*/ 11 w 68"/>
              <a:gd name="T9" fmla="*/ 290 h 290"/>
              <a:gd name="T10" fmla="*/ 56 w 68"/>
              <a:gd name="T11" fmla="*/ 287 h 290"/>
              <a:gd name="T12" fmla="*/ 67 w 68"/>
              <a:gd name="T13" fmla="*/ 275 h 290"/>
              <a:gd name="T14" fmla="*/ 68 w 68"/>
              <a:gd name="T15" fmla="*/ 12 h 290"/>
              <a:gd name="T16" fmla="*/ 57 w 68"/>
              <a:gd name="T17" fmla="*/ 1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0">
                <a:moveTo>
                  <a:pt x="57" y="1"/>
                </a:moveTo>
                <a:cubicBezTo>
                  <a:pt x="12" y="0"/>
                  <a:pt x="12" y="0"/>
                  <a:pt x="12" y="0"/>
                </a:cubicBezTo>
                <a:cubicBezTo>
                  <a:pt x="5" y="0"/>
                  <a:pt x="0" y="5"/>
                  <a:pt x="0" y="12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85"/>
                  <a:pt x="5" y="290"/>
                  <a:pt x="11" y="290"/>
                </a:cubicBezTo>
                <a:cubicBezTo>
                  <a:pt x="56" y="287"/>
                  <a:pt x="56" y="287"/>
                  <a:pt x="56" y="287"/>
                </a:cubicBezTo>
                <a:cubicBezTo>
                  <a:pt x="62" y="287"/>
                  <a:pt x="67" y="281"/>
                  <a:pt x="67" y="275"/>
                </a:cubicBezTo>
                <a:cubicBezTo>
                  <a:pt x="68" y="12"/>
                  <a:pt x="68" y="12"/>
                  <a:pt x="68" y="12"/>
                </a:cubicBezTo>
                <a:cubicBezTo>
                  <a:pt x="68" y="6"/>
                  <a:pt x="63" y="1"/>
                  <a:pt x="57" y="1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6" name="Freeform 107"/>
          <p:cNvSpPr>
            <a:spLocks/>
          </p:cNvSpPr>
          <p:nvPr/>
        </p:nvSpPr>
        <p:spPr bwMode="gray">
          <a:xfrm>
            <a:off x="10566994" y="4063265"/>
            <a:ext cx="80364" cy="351002"/>
          </a:xfrm>
          <a:custGeom>
            <a:avLst/>
            <a:gdLst>
              <a:gd name="T0" fmla="*/ 57 w 68"/>
              <a:gd name="T1" fmla="*/ 5 h 297"/>
              <a:gd name="T2" fmla="*/ 12 w 68"/>
              <a:gd name="T3" fmla="*/ 1 h 297"/>
              <a:gd name="T4" fmla="*/ 1 w 68"/>
              <a:gd name="T5" fmla="*/ 12 h 297"/>
              <a:gd name="T6" fmla="*/ 0 w 68"/>
              <a:gd name="T7" fmla="*/ 284 h 297"/>
              <a:gd name="T8" fmla="*/ 12 w 68"/>
              <a:gd name="T9" fmla="*/ 296 h 297"/>
              <a:gd name="T10" fmla="*/ 57 w 68"/>
              <a:gd name="T11" fmla="*/ 297 h 297"/>
              <a:gd name="T12" fmla="*/ 68 w 68"/>
              <a:gd name="T13" fmla="*/ 285 h 297"/>
              <a:gd name="T14" fmla="*/ 68 w 68"/>
              <a:gd name="T15" fmla="*/ 17 h 297"/>
              <a:gd name="T16" fmla="*/ 57 w 68"/>
              <a:gd name="T17" fmla="*/ 5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7">
                <a:moveTo>
                  <a:pt x="57" y="5"/>
                </a:moveTo>
                <a:cubicBezTo>
                  <a:pt x="12" y="1"/>
                  <a:pt x="12" y="1"/>
                  <a:pt x="12" y="1"/>
                </a:cubicBezTo>
                <a:cubicBezTo>
                  <a:pt x="6" y="0"/>
                  <a:pt x="1" y="5"/>
                  <a:pt x="1" y="12"/>
                </a:cubicBezTo>
                <a:cubicBezTo>
                  <a:pt x="0" y="284"/>
                  <a:pt x="0" y="284"/>
                  <a:pt x="0" y="284"/>
                </a:cubicBezTo>
                <a:cubicBezTo>
                  <a:pt x="0" y="291"/>
                  <a:pt x="5" y="296"/>
                  <a:pt x="12" y="296"/>
                </a:cubicBezTo>
                <a:cubicBezTo>
                  <a:pt x="57" y="297"/>
                  <a:pt x="57" y="297"/>
                  <a:pt x="57" y="297"/>
                </a:cubicBezTo>
                <a:cubicBezTo>
                  <a:pt x="63" y="297"/>
                  <a:pt x="68" y="292"/>
                  <a:pt x="68" y="285"/>
                </a:cubicBezTo>
                <a:cubicBezTo>
                  <a:pt x="68" y="17"/>
                  <a:pt x="68" y="17"/>
                  <a:pt x="68" y="17"/>
                </a:cubicBezTo>
                <a:cubicBezTo>
                  <a:pt x="68" y="11"/>
                  <a:pt x="63" y="5"/>
                  <a:pt x="57" y="5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108"/>
          <p:cNvSpPr>
            <a:spLocks/>
          </p:cNvSpPr>
          <p:nvPr/>
        </p:nvSpPr>
        <p:spPr bwMode="gray">
          <a:xfrm>
            <a:off x="10676903" y="4072719"/>
            <a:ext cx="81546" cy="343911"/>
          </a:xfrm>
          <a:custGeom>
            <a:avLst/>
            <a:gdLst>
              <a:gd name="T0" fmla="*/ 57 w 69"/>
              <a:gd name="T1" fmla="*/ 5 h 291"/>
              <a:gd name="T2" fmla="*/ 12 w 69"/>
              <a:gd name="T3" fmla="*/ 1 h 291"/>
              <a:gd name="T4" fmla="*/ 1 w 69"/>
              <a:gd name="T5" fmla="*/ 12 h 291"/>
              <a:gd name="T6" fmla="*/ 0 w 69"/>
              <a:gd name="T7" fmla="*/ 278 h 291"/>
              <a:gd name="T8" fmla="*/ 12 w 69"/>
              <a:gd name="T9" fmla="*/ 290 h 291"/>
              <a:gd name="T10" fmla="*/ 57 w 69"/>
              <a:gd name="T11" fmla="*/ 291 h 291"/>
              <a:gd name="T12" fmla="*/ 68 w 69"/>
              <a:gd name="T13" fmla="*/ 280 h 291"/>
              <a:gd name="T14" fmla="*/ 69 w 69"/>
              <a:gd name="T15" fmla="*/ 17 h 291"/>
              <a:gd name="T16" fmla="*/ 57 w 69"/>
              <a:gd name="T17" fmla="*/ 5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291">
                <a:moveTo>
                  <a:pt x="57" y="5"/>
                </a:moveTo>
                <a:cubicBezTo>
                  <a:pt x="12" y="1"/>
                  <a:pt x="12" y="1"/>
                  <a:pt x="12" y="1"/>
                </a:cubicBezTo>
                <a:cubicBezTo>
                  <a:pt x="6" y="0"/>
                  <a:pt x="1" y="5"/>
                  <a:pt x="1" y="12"/>
                </a:cubicBezTo>
                <a:cubicBezTo>
                  <a:pt x="0" y="278"/>
                  <a:pt x="0" y="278"/>
                  <a:pt x="0" y="278"/>
                </a:cubicBezTo>
                <a:cubicBezTo>
                  <a:pt x="0" y="285"/>
                  <a:pt x="6" y="290"/>
                  <a:pt x="12" y="290"/>
                </a:cubicBezTo>
                <a:cubicBezTo>
                  <a:pt x="57" y="291"/>
                  <a:pt x="57" y="291"/>
                  <a:pt x="57" y="291"/>
                </a:cubicBezTo>
                <a:cubicBezTo>
                  <a:pt x="63" y="291"/>
                  <a:pt x="68" y="286"/>
                  <a:pt x="68" y="280"/>
                </a:cubicBezTo>
                <a:cubicBezTo>
                  <a:pt x="69" y="17"/>
                  <a:pt x="69" y="17"/>
                  <a:pt x="69" y="17"/>
                </a:cubicBezTo>
                <a:cubicBezTo>
                  <a:pt x="69" y="11"/>
                  <a:pt x="64" y="5"/>
                  <a:pt x="57" y="5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109"/>
          <p:cNvSpPr>
            <a:spLocks/>
          </p:cNvSpPr>
          <p:nvPr/>
        </p:nvSpPr>
        <p:spPr bwMode="gray">
          <a:xfrm>
            <a:off x="10568176" y="3641353"/>
            <a:ext cx="80364" cy="358093"/>
          </a:xfrm>
          <a:custGeom>
            <a:avLst/>
            <a:gdLst>
              <a:gd name="T0" fmla="*/ 57 w 68"/>
              <a:gd name="T1" fmla="*/ 8 h 303"/>
              <a:gd name="T2" fmla="*/ 12 w 68"/>
              <a:gd name="T3" fmla="*/ 1 h 303"/>
              <a:gd name="T4" fmla="*/ 1 w 68"/>
              <a:gd name="T5" fmla="*/ 12 h 303"/>
              <a:gd name="T6" fmla="*/ 0 w 68"/>
              <a:gd name="T7" fmla="*/ 285 h 303"/>
              <a:gd name="T8" fmla="*/ 11 w 68"/>
              <a:gd name="T9" fmla="*/ 298 h 303"/>
              <a:gd name="T10" fmla="*/ 56 w 68"/>
              <a:gd name="T11" fmla="*/ 302 h 303"/>
              <a:gd name="T12" fmla="*/ 68 w 68"/>
              <a:gd name="T13" fmla="*/ 292 h 303"/>
              <a:gd name="T14" fmla="*/ 68 w 68"/>
              <a:gd name="T15" fmla="*/ 22 h 303"/>
              <a:gd name="T16" fmla="*/ 57 w 68"/>
              <a:gd name="T17" fmla="*/ 8 h 30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303">
                <a:moveTo>
                  <a:pt x="57" y="8"/>
                </a:moveTo>
                <a:cubicBezTo>
                  <a:pt x="12" y="1"/>
                  <a:pt x="12" y="1"/>
                  <a:pt x="12" y="1"/>
                </a:cubicBezTo>
                <a:cubicBezTo>
                  <a:pt x="6" y="0"/>
                  <a:pt x="1" y="5"/>
                  <a:pt x="1" y="12"/>
                </a:cubicBezTo>
                <a:cubicBezTo>
                  <a:pt x="0" y="285"/>
                  <a:pt x="0" y="285"/>
                  <a:pt x="0" y="285"/>
                </a:cubicBezTo>
                <a:cubicBezTo>
                  <a:pt x="0" y="292"/>
                  <a:pt x="5" y="298"/>
                  <a:pt x="11" y="298"/>
                </a:cubicBezTo>
                <a:cubicBezTo>
                  <a:pt x="56" y="302"/>
                  <a:pt x="56" y="302"/>
                  <a:pt x="56" y="302"/>
                </a:cubicBezTo>
                <a:cubicBezTo>
                  <a:pt x="63" y="303"/>
                  <a:pt x="68" y="298"/>
                  <a:pt x="68" y="292"/>
                </a:cubicBezTo>
                <a:cubicBezTo>
                  <a:pt x="68" y="22"/>
                  <a:pt x="68" y="22"/>
                  <a:pt x="68" y="22"/>
                </a:cubicBezTo>
                <a:cubicBezTo>
                  <a:pt x="68" y="15"/>
                  <a:pt x="63" y="9"/>
                  <a:pt x="57" y="8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110"/>
          <p:cNvSpPr>
            <a:spLocks/>
          </p:cNvSpPr>
          <p:nvPr/>
        </p:nvSpPr>
        <p:spPr bwMode="gray">
          <a:xfrm>
            <a:off x="10678085" y="3659080"/>
            <a:ext cx="80364" cy="351002"/>
          </a:xfrm>
          <a:custGeom>
            <a:avLst/>
            <a:gdLst>
              <a:gd name="T0" fmla="*/ 57 w 68"/>
              <a:gd name="T1" fmla="*/ 9 h 297"/>
              <a:gd name="T2" fmla="*/ 12 w 68"/>
              <a:gd name="T3" fmla="*/ 1 h 297"/>
              <a:gd name="T4" fmla="*/ 1 w 68"/>
              <a:gd name="T5" fmla="*/ 11 h 297"/>
              <a:gd name="T6" fmla="*/ 0 w 68"/>
              <a:gd name="T7" fmla="*/ 279 h 297"/>
              <a:gd name="T8" fmla="*/ 11 w 68"/>
              <a:gd name="T9" fmla="*/ 292 h 297"/>
              <a:gd name="T10" fmla="*/ 56 w 68"/>
              <a:gd name="T11" fmla="*/ 297 h 297"/>
              <a:gd name="T12" fmla="*/ 68 w 68"/>
              <a:gd name="T13" fmla="*/ 286 h 297"/>
              <a:gd name="T14" fmla="*/ 68 w 68"/>
              <a:gd name="T15" fmla="*/ 22 h 297"/>
              <a:gd name="T16" fmla="*/ 57 w 68"/>
              <a:gd name="T17" fmla="*/ 9 h 2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297">
                <a:moveTo>
                  <a:pt x="57" y="9"/>
                </a:moveTo>
                <a:cubicBezTo>
                  <a:pt x="12" y="1"/>
                  <a:pt x="12" y="1"/>
                  <a:pt x="12" y="1"/>
                </a:cubicBezTo>
                <a:cubicBezTo>
                  <a:pt x="6" y="0"/>
                  <a:pt x="1" y="5"/>
                  <a:pt x="1" y="11"/>
                </a:cubicBezTo>
                <a:cubicBezTo>
                  <a:pt x="0" y="279"/>
                  <a:pt x="0" y="279"/>
                  <a:pt x="0" y="279"/>
                </a:cubicBezTo>
                <a:cubicBezTo>
                  <a:pt x="0" y="286"/>
                  <a:pt x="5" y="291"/>
                  <a:pt x="11" y="292"/>
                </a:cubicBezTo>
                <a:cubicBezTo>
                  <a:pt x="56" y="297"/>
                  <a:pt x="56" y="297"/>
                  <a:pt x="56" y="297"/>
                </a:cubicBezTo>
                <a:cubicBezTo>
                  <a:pt x="63" y="297"/>
                  <a:pt x="68" y="292"/>
                  <a:pt x="68" y="286"/>
                </a:cubicBezTo>
                <a:cubicBezTo>
                  <a:pt x="68" y="22"/>
                  <a:pt x="68" y="22"/>
                  <a:pt x="68" y="22"/>
                </a:cubicBezTo>
                <a:cubicBezTo>
                  <a:pt x="68" y="16"/>
                  <a:pt x="63" y="10"/>
                  <a:pt x="57" y="9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111"/>
          <p:cNvSpPr>
            <a:spLocks/>
          </p:cNvSpPr>
          <p:nvPr/>
        </p:nvSpPr>
        <p:spPr bwMode="gray">
          <a:xfrm>
            <a:off x="10569357" y="3221805"/>
            <a:ext cx="80364" cy="360456"/>
          </a:xfrm>
          <a:custGeom>
            <a:avLst/>
            <a:gdLst>
              <a:gd name="T0" fmla="*/ 57 w 68"/>
              <a:gd name="T1" fmla="*/ 12 h 305"/>
              <a:gd name="T2" fmla="*/ 12 w 68"/>
              <a:gd name="T3" fmla="*/ 1 h 305"/>
              <a:gd name="T4" fmla="*/ 0 w 68"/>
              <a:gd name="T5" fmla="*/ 11 h 305"/>
              <a:gd name="T6" fmla="*/ 0 w 68"/>
              <a:gd name="T7" fmla="*/ 282 h 305"/>
              <a:gd name="T8" fmla="*/ 11 w 68"/>
              <a:gd name="T9" fmla="*/ 296 h 305"/>
              <a:gd name="T10" fmla="*/ 56 w 68"/>
              <a:gd name="T11" fmla="*/ 304 h 305"/>
              <a:gd name="T12" fmla="*/ 67 w 68"/>
              <a:gd name="T13" fmla="*/ 294 h 305"/>
              <a:gd name="T14" fmla="*/ 68 w 68"/>
              <a:gd name="T15" fmla="*/ 26 h 305"/>
              <a:gd name="T16" fmla="*/ 57 w 68"/>
              <a:gd name="T17" fmla="*/ 12 h 3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305">
                <a:moveTo>
                  <a:pt x="57" y="12"/>
                </a:moveTo>
                <a:cubicBezTo>
                  <a:pt x="12" y="1"/>
                  <a:pt x="12" y="1"/>
                  <a:pt x="12" y="1"/>
                </a:cubicBezTo>
                <a:cubicBezTo>
                  <a:pt x="5" y="0"/>
                  <a:pt x="0" y="4"/>
                  <a:pt x="0" y="11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89"/>
                  <a:pt x="5" y="295"/>
                  <a:pt x="11" y="296"/>
                </a:cubicBezTo>
                <a:cubicBezTo>
                  <a:pt x="56" y="304"/>
                  <a:pt x="56" y="304"/>
                  <a:pt x="56" y="304"/>
                </a:cubicBezTo>
                <a:cubicBezTo>
                  <a:pt x="62" y="305"/>
                  <a:pt x="67" y="301"/>
                  <a:pt x="67" y="294"/>
                </a:cubicBezTo>
                <a:cubicBezTo>
                  <a:pt x="68" y="26"/>
                  <a:pt x="68" y="26"/>
                  <a:pt x="68" y="26"/>
                </a:cubicBezTo>
                <a:cubicBezTo>
                  <a:pt x="68" y="20"/>
                  <a:pt x="63" y="13"/>
                  <a:pt x="57" y="12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Freeform 112"/>
          <p:cNvSpPr>
            <a:spLocks/>
          </p:cNvSpPr>
          <p:nvPr/>
        </p:nvSpPr>
        <p:spPr bwMode="gray">
          <a:xfrm>
            <a:off x="10679268" y="3247805"/>
            <a:ext cx="80364" cy="354547"/>
          </a:xfrm>
          <a:custGeom>
            <a:avLst/>
            <a:gdLst>
              <a:gd name="T0" fmla="*/ 57 w 68"/>
              <a:gd name="T1" fmla="*/ 12 h 300"/>
              <a:gd name="T2" fmla="*/ 12 w 68"/>
              <a:gd name="T3" fmla="*/ 1 h 300"/>
              <a:gd name="T4" fmla="*/ 0 w 68"/>
              <a:gd name="T5" fmla="*/ 10 h 300"/>
              <a:gd name="T6" fmla="*/ 0 w 68"/>
              <a:gd name="T7" fmla="*/ 277 h 300"/>
              <a:gd name="T8" fmla="*/ 11 w 68"/>
              <a:gd name="T9" fmla="*/ 291 h 300"/>
              <a:gd name="T10" fmla="*/ 56 w 68"/>
              <a:gd name="T11" fmla="*/ 299 h 300"/>
              <a:gd name="T12" fmla="*/ 67 w 68"/>
              <a:gd name="T13" fmla="*/ 289 h 300"/>
              <a:gd name="T14" fmla="*/ 68 w 68"/>
              <a:gd name="T15" fmla="*/ 27 h 300"/>
              <a:gd name="T16" fmla="*/ 57 w 68"/>
              <a:gd name="T17" fmla="*/ 12 h 3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300">
                <a:moveTo>
                  <a:pt x="57" y="12"/>
                </a:moveTo>
                <a:cubicBezTo>
                  <a:pt x="12" y="1"/>
                  <a:pt x="12" y="1"/>
                  <a:pt x="12" y="1"/>
                </a:cubicBezTo>
                <a:cubicBezTo>
                  <a:pt x="5" y="0"/>
                  <a:pt x="0" y="4"/>
                  <a:pt x="0" y="10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83"/>
                  <a:pt x="5" y="290"/>
                  <a:pt x="11" y="291"/>
                </a:cubicBezTo>
                <a:cubicBezTo>
                  <a:pt x="56" y="299"/>
                  <a:pt x="56" y="299"/>
                  <a:pt x="56" y="299"/>
                </a:cubicBezTo>
                <a:cubicBezTo>
                  <a:pt x="62" y="300"/>
                  <a:pt x="67" y="295"/>
                  <a:pt x="67" y="289"/>
                </a:cubicBezTo>
                <a:cubicBezTo>
                  <a:pt x="68" y="27"/>
                  <a:pt x="68" y="27"/>
                  <a:pt x="68" y="27"/>
                </a:cubicBezTo>
                <a:cubicBezTo>
                  <a:pt x="68" y="20"/>
                  <a:pt x="63" y="14"/>
                  <a:pt x="57" y="12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Freeform 113"/>
          <p:cNvSpPr>
            <a:spLocks/>
          </p:cNvSpPr>
          <p:nvPr/>
        </p:nvSpPr>
        <p:spPr bwMode="gray">
          <a:xfrm>
            <a:off x="10569357" y="2799894"/>
            <a:ext cx="80364" cy="366366"/>
          </a:xfrm>
          <a:custGeom>
            <a:avLst/>
            <a:gdLst>
              <a:gd name="T0" fmla="*/ 57 w 68"/>
              <a:gd name="T1" fmla="*/ 16 h 310"/>
              <a:gd name="T2" fmla="*/ 12 w 68"/>
              <a:gd name="T3" fmla="*/ 2 h 310"/>
              <a:gd name="T4" fmla="*/ 1 w 68"/>
              <a:gd name="T5" fmla="*/ 10 h 310"/>
              <a:gd name="T6" fmla="*/ 0 w 68"/>
              <a:gd name="T7" fmla="*/ 282 h 310"/>
              <a:gd name="T8" fmla="*/ 12 w 68"/>
              <a:gd name="T9" fmla="*/ 297 h 310"/>
              <a:gd name="T10" fmla="*/ 57 w 68"/>
              <a:gd name="T11" fmla="*/ 308 h 310"/>
              <a:gd name="T12" fmla="*/ 68 w 68"/>
              <a:gd name="T13" fmla="*/ 299 h 310"/>
              <a:gd name="T14" fmla="*/ 68 w 68"/>
              <a:gd name="T15" fmla="*/ 31 h 310"/>
              <a:gd name="T16" fmla="*/ 57 w 68"/>
              <a:gd name="T17" fmla="*/ 16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8" h="310">
                <a:moveTo>
                  <a:pt x="57" y="16"/>
                </a:moveTo>
                <a:cubicBezTo>
                  <a:pt x="12" y="2"/>
                  <a:pt x="12" y="2"/>
                  <a:pt x="12" y="2"/>
                </a:cubicBezTo>
                <a:cubicBezTo>
                  <a:pt x="6" y="0"/>
                  <a:pt x="1" y="4"/>
                  <a:pt x="1" y="10"/>
                </a:cubicBezTo>
                <a:cubicBezTo>
                  <a:pt x="0" y="282"/>
                  <a:pt x="0" y="282"/>
                  <a:pt x="0" y="282"/>
                </a:cubicBezTo>
                <a:cubicBezTo>
                  <a:pt x="0" y="289"/>
                  <a:pt x="5" y="295"/>
                  <a:pt x="12" y="297"/>
                </a:cubicBezTo>
                <a:cubicBezTo>
                  <a:pt x="57" y="308"/>
                  <a:pt x="57" y="308"/>
                  <a:pt x="57" y="308"/>
                </a:cubicBezTo>
                <a:cubicBezTo>
                  <a:pt x="63" y="310"/>
                  <a:pt x="68" y="306"/>
                  <a:pt x="68" y="299"/>
                </a:cubicBezTo>
                <a:cubicBezTo>
                  <a:pt x="68" y="31"/>
                  <a:pt x="68" y="31"/>
                  <a:pt x="68" y="31"/>
                </a:cubicBezTo>
                <a:cubicBezTo>
                  <a:pt x="68" y="25"/>
                  <a:pt x="63" y="18"/>
                  <a:pt x="57" y="16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Freeform 114"/>
          <p:cNvSpPr>
            <a:spLocks/>
          </p:cNvSpPr>
          <p:nvPr/>
        </p:nvSpPr>
        <p:spPr bwMode="gray">
          <a:xfrm>
            <a:off x="10679268" y="2834166"/>
            <a:ext cx="81546" cy="359275"/>
          </a:xfrm>
          <a:custGeom>
            <a:avLst/>
            <a:gdLst>
              <a:gd name="T0" fmla="*/ 57 w 69"/>
              <a:gd name="T1" fmla="*/ 16 h 304"/>
              <a:gd name="T2" fmla="*/ 12 w 69"/>
              <a:gd name="T3" fmla="*/ 2 h 304"/>
              <a:gd name="T4" fmla="*/ 1 w 69"/>
              <a:gd name="T5" fmla="*/ 10 h 304"/>
              <a:gd name="T6" fmla="*/ 0 w 69"/>
              <a:gd name="T7" fmla="*/ 277 h 304"/>
              <a:gd name="T8" fmla="*/ 12 w 69"/>
              <a:gd name="T9" fmla="*/ 291 h 304"/>
              <a:gd name="T10" fmla="*/ 57 w 69"/>
              <a:gd name="T11" fmla="*/ 303 h 304"/>
              <a:gd name="T12" fmla="*/ 68 w 69"/>
              <a:gd name="T13" fmla="*/ 294 h 304"/>
              <a:gd name="T14" fmla="*/ 69 w 69"/>
              <a:gd name="T15" fmla="*/ 32 h 304"/>
              <a:gd name="T16" fmla="*/ 57 w 69"/>
              <a:gd name="T17" fmla="*/ 16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9" h="304">
                <a:moveTo>
                  <a:pt x="57" y="16"/>
                </a:moveTo>
                <a:cubicBezTo>
                  <a:pt x="12" y="2"/>
                  <a:pt x="12" y="2"/>
                  <a:pt x="12" y="2"/>
                </a:cubicBezTo>
                <a:cubicBezTo>
                  <a:pt x="6" y="0"/>
                  <a:pt x="1" y="4"/>
                  <a:pt x="1" y="10"/>
                </a:cubicBezTo>
                <a:cubicBezTo>
                  <a:pt x="0" y="277"/>
                  <a:pt x="0" y="277"/>
                  <a:pt x="0" y="277"/>
                </a:cubicBezTo>
                <a:cubicBezTo>
                  <a:pt x="0" y="283"/>
                  <a:pt x="5" y="290"/>
                  <a:pt x="12" y="291"/>
                </a:cubicBezTo>
                <a:cubicBezTo>
                  <a:pt x="57" y="303"/>
                  <a:pt x="57" y="303"/>
                  <a:pt x="57" y="303"/>
                </a:cubicBezTo>
                <a:cubicBezTo>
                  <a:pt x="63" y="304"/>
                  <a:pt x="68" y="300"/>
                  <a:pt x="68" y="294"/>
                </a:cubicBezTo>
                <a:cubicBezTo>
                  <a:pt x="69" y="32"/>
                  <a:pt x="69" y="32"/>
                  <a:pt x="69" y="32"/>
                </a:cubicBezTo>
                <a:cubicBezTo>
                  <a:pt x="69" y="25"/>
                  <a:pt x="63" y="18"/>
                  <a:pt x="57" y="16"/>
                </a:cubicBezTo>
              </a:path>
            </a:pathLst>
          </a:custGeom>
          <a:solidFill>
            <a:srgbClr val="BECDD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Freeform 115"/>
          <p:cNvSpPr>
            <a:spLocks/>
          </p:cNvSpPr>
          <p:nvPr/>
        </p:nvSpPr>
        <p:spPr bwMode="gray">
          <a:xfrm>
            <a:off x="9235076" y="5072543"/>
            <a:ext cx="1194826" cy="333275"/>
          </a:xfrm>
          <a:custGeom>
            <a:avLst/>
            <a:gdLst>
              <a:gd name="T0" fmla="*/ 176 w 2022"/>
              <a:gd name="T1" fmla="*/ 0 h 564"/>
              <a:gd name="T2" fmla="*/ 2022 w 2022"/>
              <a:gd name="T3" fmla="*/ 420 h 564"/>
              <a:gd name="T4" fmla="*/ 2022 w 2022"/>
              <a:gd name="T5" fmla="*/ 564 h 564"/>
              <a:gd name="T6" fmla="*/ 0 w 2022"/>
              <a:gd name="T7" fmla="*/ 78 h 564"/>
              <a:gd name="T8" fmla="*/ 176 w 2022"/>
              <a:gd name="T9" fmla="*/ 0 h 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22" h="564">
                <a:moveTo>
                  <a:pt x="176" y="0"/>
                </a:moveTo>
                <a:lnTo>
                  <a:pt x="2022" y="420"/>
                </a:lnTo>
                <a:lnTo>
                  <a:pt x="2022" y="564"/>
                </a:lnTo>
                <a:lnTo>
                  <a:pt x="0" y="78"/>
                </a:lnTo>
                <a:lnTo>
                  <a:pt x="176" y="0"/>
                </a:ln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cap="rnd">
            <a:solidFill>
              <a:srgbClr val="BECDD7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Freeform 84"/>
          <p:cNvSpPr>
            <a:spLocks/>
          </p:cNvSpPr>
          <p:nvPr/>
        </p:nvSpPr>
        <p:spPr bwMode="gray">
          <a:xfrm>
            <a:off x="9536441" y="3745354"/>
            <a:ext cx="542458" cy="108728"/>
          </a:xfrm>
          <a:custGeom>
            <a:avLst/>
            <a:gdLst>
              <a:gd name="T0" fmla="*/ 0 w 918"/>
              <a:gd name="T1" fmla="*/ 172 h 184"/>
              <a:gd name="T2" fmla="*/ 254 w 918"/>
              <a:gd name="T3" fmla="*/ 0 h 184"/>
              <a:gd name="T4" fmla="*/ 918 w 918"/>
              <a:gd name="T5" fmla="*/ 12 h 184"/>
              <a:gd name="T6" fmla="*/ 664 w 918"/>
              <a:gd name="T7" fmla="*/ 184 h 184"/>
              <a:gd name="T8" fmla="*/ 0 w 918"/>
              <a:gd name="T9" fmla="*/ 172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918" h="184">
                <a:moveTo>
                  <a:pt x="0" y="172"/>
                </a:moveTo>
                <a:lnTo>
                  <a:pt x="254" y="0"/>
                </a:lnTo>
                <a:lnTo>
                  <a:pt x="918" y="12"/>
                </a:lnTo>
                <a:lnTo>
                  <a:pt x="664" y="184"/>
                </a:lnTo>
                <a:lnTo>
                  <a:pt x="0" y="172"/>
                </a:lnTo>
                <a:close/>
              </a:path>
            </a:pathLst>
          </a:custGeom>
          <a:solidFill>
            <a:srgbClr val="4BB9B9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83"/>
          <p:cNvSpPr>
            <a:spLocks/>
          </p:cNvSpPr>
          <p:nvPr/>
        </p:nvSpPr>
        <p:spPr bwMode="gray">
          <a:xfrm>
            <a:off x="9548260" y="3858810"/>
            <a:ext cx="764043" cy="1298555"/>
          </a:xfrm>
          <a:custGeom>
            <a:avLst/>
            <a:gdLst>
              <a:gd name="T0" fmla="*/ 0 w 1284"/>
              <a:gd name="T1" fmla="*/ 0 h 2184"/>
              <a:gd name="T2" fmla="*/ 634 w 1284"/>
              <a:gd name="T3" fmla="*/ 12 h 2184"/>
              <a:gd name="T4" fmla="*/ 1284 w 1284"/>
              <a:gd name="T5" fmla="*/ 2184 h 2184"/>
              <a:gd name="T6" fmla="*/ 612 w 1284"/>
              <a:gd name="T7" fmla="*/ 2040 h 2184"/>
              <a:gd name="T8" fmla="*/ 0 w 1284"/>
              <a:gd name="T9" fmla="*/ 0 h 2184"/>
              <a:gd name="connsiteX0" fmla="*/ 0 w 10000"/>
              <a:gd name="connsiteY0" fmla="*/ 0 h 10000"/>
              <a:gd name="connsiteX1" fmla="*/ 4938 w 10000"/>
              <a:gd name="connsiteY1" fmla="*/ 55 h 10000"/>
              <a:gd name="connsiteX2" fmla="*/ 10000 w 10000"/>
              <a:gd name="connsiteY2" fmla="*/ 10000 h 10000"/>
              <a:gd name="connsiteX3" fmla="*/ 4731 w 10000"/>
              <a:gd name="connsiteY3" fmla="*/ 9424 h 10000"/>
              <a:gd name="connsiteX4" fmla="*/ 0 w 10000"/>
              <a:gd name="connsiteY4" fmla="*/ 0 h 10000"/>
              <a:gd name="connsiteX0" fmla="*/ 0 w 10070"/>
              <a:gd name="connsiteY0" fmla="*/ 0 h 10062"/>
              <a:gd name="connsiteX1" fmla="*/ 4938 w 10070"/>
              <a:gd name="connsiteY1" fmla="*/ 55 h 10062"/>
              <a:gd name="connsiteX2" fmla="*/ 10070 w 10070"/>
              <a:gd name="connsiteY2" fmla="*/ 10062 h 10062"/>
              <a:gd name="connsiteX3" fmla="*/ 4731 w 10070"/>
              <a:gd name="connsiteY3" fmla="*/ 9424 h 10062"/>
              <a:gd name="connsiteX4" fmla="*/ 0 w 10070"/>
              <a:gd name="connsiteY4" fmla="*/ 0 h 100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70" h="10062">
                <a:moveTo>
                  <a:pt x="0" y="0"/>
                </a:moveTo>
                <a:lnTo>
                  <a:pt x="4938" y="55"/>
                </a:lnTo>
                <a:lnTo>
                  <a:pt x="10070" y="10062"/>
                </a:lnTo>
                <a:lnTo>
                  <a:pt x="4731" y="9424"/>
                </a:lnTo>
                <a:lnTo>
                  <a:pt x="0" y="0"/>
                </a:lnTo>
                <a:close/>
              </a:path>
            </a:pathLst>
          </a:custGeom>
          <a:solidFill>
            <a:srgbClr val="A5E1E1"/>
          </a:solidFill>
          <a:ln w="19050">
            <a:solidFill>
              <a:srgbClr val="A5E1E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Bogen 212"/>
          <p:cNvSpPr/>
          <p:nvPr/>
        </p:nvSpPr>
        <p:spPr bwMode="gray">
          <a:xfrm flipH="1">
            <a:off x="9431260" y="4356358"/>
            <a:ext cx="728559" cy="728559"/>
          </a:xfrm>
          <a:prstGeom prst="arc">
            <a:avLst>
              <a:gd name="adj1" fmla="val 15015543"/>
              <a:gd name="adj2" fmla="val 706047"/>
            </a:avLst>
          </a:prstGeom>
          <a:noFill/>
          <a:ln w="38100" cap="flat" cmpd="sng" algn="ctr">
            <a:solidFill>
              <a:srgbClr val="41AAAA"/>
            </a:solidFill>
            <a:prstDash val="solid"/>
            <a:round/>
            <a:headEnd type="none" w="med" len="med"/>
            <a:tailEnd type="triangle" w="lg" len="lg"/>
          </a:ln>
          <a:effectLst/>
          <a:extLst/>
        </p:spPr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1038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7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ru-RU" dirty="0" smtClean="0"/>
              <a:t>Отображение на дисплее в зависимости от концентрации</a:t>
            </a:r>
            <a:endParaRPr lang="en-US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597905" y="1785120"/>
            <a:ext cx="4119568" cy="2579062"/>
            <a:chOff x="627061" y="1557336"/>
            <a:chExt cx="9297011" cy="4643972"/>
          </a:xfrm>
        </p:grpSpPr>
        <p:sp>
          <p:nvSpPr>
            <p:cNvPr id="242" name="Rechteck 241"/>
            <p:cNvSpPr/>
            <p:nvPr/>
          </p:nvSpPr>
          <p:spPr bwMode="gray">
            <a:xfrm>
              <a:off x="3767383" y="3933825"/>
              <a:ext cx="3005769" cy="226748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rtlCol="0" anchor="t"/>
            <a:lstStyle/>
            <a:p>
              <a:r>
                <a:rPr lang="en-US" sz="1000" dirty="0" smtClean="0">
                  <a:solidFill>
                    <a:schemeClr val="bg1"/>
                  </a:solidFill>
                </a:rPr>
                <a:t>PM2.5</a:t>
              </a:r>
            </a:p>
          </p:txBody>
        </p:sp>
        <p:sp>
          <p:nvSpPr>
            <p:cNvPr id="243" name="Rechteck 242"/>
            <p:cNvSpPr/>
            <p:nvPr/>
          </p:nvSpPr>
          <p:spPr bwMode="gray">
            <a:xfrm>
              <a:off x="3767383" y="5622348"/>
              <a:ext cx="3005769" cy="578960"/>
            </a:xfrm>
            <a:prstGeom prst="rect">
              <a:avLst/>
            </a:prstGeom>
            <a:solidFill>
              <a:srgbClr val="994499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bg1"/>
                  </a:solidFill>
                </a:rPr>
                <a:t>Very</a:t>
              </a:r>
              <a:r>
                <a:rPr lang="ru-RU" sz="1200" dirty="0" smtClean="0">
                  <a:solidFill>
                    <a:schemeClr val="bg1"/>
                  </a:solidFill>
                </a:rPr>
                <a:t> </a:t>
              </a:r>
              <a:r>
                <a:rPr lang="en-US" sz="1200" dirty="0" smtClean="0">
                  <a:solidFill>
                    <a:schemeClr val="bg1"/>
                  </a:solidFill>
                </a:rPr>
                <a:t>unhealthy</a:t>
              </a:r>
            </a:p>
          </p:txBody>
        </p:sp>
        <p:sp>
          <p:nvSpPr>
            <p:cNvPr id="246" name="Rechteck 245"/>
            <p:cNvSpPr/>
            <p:nvPr/>
          </p:nvSpPr>
          <p:spPr bwMode="gray">
            <a:xfrm>
              <a:off x="3767383" y="4399984"/>
              <a:ext cx="3005769" cy="578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180</a:t>
              </a:r>
              <a:r>
                <a:rPr lang="el-GR" sz="1400" dirty="0" smtClean="0">
                  <a:solidFill>
                    <a:schemeClr val="bg1"/>
                  </a:solidFill>
                </a:rPr>
                <a:t>μ</a:t>
              </a:r>
              <a:r>
                <a:rPr lang="de-DE" sz="1400" dirty="0" smtClean="0">
                  <a:solidFill>
                    <a:schemeClr val="bg1"/>
                  </a:solidFill>
                </a:rPr>
                <a:t>g/m</a:t>
              </a:r>
              <a:r>
                <a:rPr lang="de-DE" sz="1400" baseline="30000" dirty="0" smtClean="0">
                  <a:solidFill>
                    <a:schemeClr val="bg1"/>
                  </a:solidFill>
                </a:rPr>
                <a:t>3</a:t>
              </a:r>
              <a:endParaRPr lang="en-US" sz="1400" baseline="30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300" name="Rechteck 299"/>
            <p:cNvSpPr/>
            <p:nvPr/>
          </p:nvSpPr>
          <p:spPr bwMode="gray">
            <a:xfrm>
              <a:off x="6918303" y="3933825"/>
              <a:ext cx="3005769" cy="226748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rtlCol="0" anchor="t"/>
            <a:lstStyle/>
            <a:p>
              <a:r>
                <a:rPr lang="en-US" sz="1000" dirty="0" smtClean="0">
                  <a:solidFill>
                    <a:schemeClr val="bg1"/>
                  </a:solidFill>
                </a:rPr>
                <a:t>PM2.5</a:t>
              </a:r>
            </a:p>
          </p:txBody>
        </p:sp>
        <p:sp>
          <p:nvSpPr>
            <p:cNvPr id="301" name="Rechteck 300"/>
            <p:cNvSpPr/>
            <p:nvPr/>
          </p:nvSpPr>
          <p:spPr bwMode="gray">
            <a:xfrm>
              <a:off x="6918303" y="5622348"/>
              <a:ext cx="3005769" cy="578960"/>
            </a:xfrm>
            <a:prstGeom prst="rect">
              <a:avLst/>
            </a:prstGeom>
            <a:solidFill>
              <a:srgbClr val="880015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1000" dirty="0" smtClean="0">
                  <a:solidFill>
                    <a:schemeClr val="bg1"/>
                  </a:solidFill>
                </a:rPr>
                <a:t>Hazardous</a:t>
              </a:r>
            </a:p>
          </p:txBody>
        </p:sp>
        <p:sp>
          <p:nvSpPr>
            <p:cNvPr id="304" name="Rechteck 303"/>
            <p:cNvSpPr/>
            <p:nvPr/>
          </p:nvSpPr>
          <p:spPr bwMode="gray">
            <a:xfrm>
              <a:off x="6918303" y="4399984"/>
              <a:ext cx="3005769" cy="578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500</a:t>
              </a:r>
              <a:r>
                <a:rPr lang="el-GR" sz="1400" dirty="0" smtClean="0">
                  <a:solidFill>
                    <a:schemeClr val="bg1"/>
                  </a:solidFill>
                </a:rPr>
                <a:t>μ</a:t>
              </a:r>
              <a:r>
                <a:rPr lang="de-DE" sz="1400" dirty="0" smtClean="0">
                  <a:solidFill>
                    <a:schemeClr val="bg1"/>
                  </a:solidFill>
                </a:rPr>
                <a:t>g/m</a:t>
              </a:r>
              <a:r>
                <a:rPr lang="de-DE" sz="1400" baseline="30000" dirty="0" smtClean="0">
                  <a:solidFill>
                    <a:schemeClr val="bg1"/>
                  </a:solidFill>
                </a:rPr>
                <a:t>3</a:t>
              </a:r>
              <a:endParaRPr lang="en-US" sz="1400" baseline="30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7" name="Rechteck 6"/>
            <p:cNvSpPr/>
            <p:nvPr/>
          </p:nvSpPr>
          <p:spPr bwMode="gray">
            <a:xfrm>
              <a:off x="627061" y="1557336"/>
              <a:ext cx="3005769" cy="223281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rtlCol="0" anchor="t"/>
            <a:lstStyle/>
            <a:p>
              <a:r>
                <a:rPr lang="en-US" sz="1000" dirty="0" smtClean="0">
                  <a:solidFill>
                    <a:schemeClr val="bg1"/>
                  </a:solidFill>
                </a:rPr>
                <a:t>PM2.5</a:t>
              </a:r>
            </a:p>
          </p:txBody>
        </p:sp>
        <p:sp>
          <p:nvSpPr>
            <p:cNvPr id="10" name="Rechteck 9"/>
            <p:cNvSpPr/>
            <p:nvPr/>
          </p:nvSpPr>
          <p:spPr bwMode="gray">
            <a:xfrm>
              <a:off x="627061" y="3211189"/>
              <a:ext cx="3005769" cy="578960"/>
            </a:xfrm>
            <a:prstGeom prst="rect">
              <a:avLst/>
            </a:prstGeom>
            <a:solidFill>
              <a:srgbClr val="22B14C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Good</a:t>
              </a:r>
            </a:p>
          </p:txBody>
        </p:sp>
        <p:grpSp>
          <p:nvGrpSpPr>
            <p:cNvPr id="364" name="Gruppieren 363"/>
            <p:cNvGrpSpPr/>
            <p:nvPr/>
          </p:nvGrpSpPr>
          <p:grpSpPr bwMode="gray">
            <a:xfrm>
              <a:off x="732623" y="2846384"/>
              <a:ext cx="2794645" cy="207465"/>
              <a:chOff x="734273" y="2866536"/>
              <a:chExt cx="2838334" cy="210708"/>
            </a:xfrm>
          </p:grpSpPr>
          <p:sp>
            <p:nvSpPr>
              <p:cNvPr id="3" name="Ellipse 2"/>
              <p:cNvSpPr/>
              <p:nvPr/>
            </p:nvSpPr>
            <p:spPr bwMode="gray">
              <a:xfrm flipV="1">
                <a:off x="7342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Ellipse 10"/>
              <p:cNvSpPr/>
              <p:nvPr/>
            </p:nvSpPr>
            <p:spPr bwMode="gray">
              <a:xfrm flipV="1">
                <a:off x="7890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2" name="Ellipse 11"/>
              <p:cNvSpPr/>
              <p:nvPr/>
            </p:nvSpPr>
            <p:spPr bwMode="gray">
              <a:xfrm flipV="1">
                <a:off x="8438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3" name="Ellipse 12"/>
              <p:cNvSpPr/>
              <p:nvPr/>
            </p:nvSpPr>
            <p:spPr bwMode="gray">
              <a:xfrm flipV="1">
                <a:off x="8986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4" name="Ellipse 13"/>
              <p:cNvSpPr/>
              <p:nvPr/>
            </p:nvSpPr>
            <p:spPr bwMode="gray">
              <a:xfrm flipV="1">
                <a:off x="9534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5" name="Ellipse 14"/>
              <p:cNvSpPr/>
              <p:nvPr/>
            </p:nvSpPr>
            <p:spPr bwMode="gray">
              <a:xfrm flipV="1">
                <a:off x="10082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Ellipse 15"/>
              <p:cNvSpPr/>
              <p:nvPr/>
            </p:nvSpPr>
            <p:spPr bwMode="gray">
              <a:xfrm flipV="1">
                <a:off x="1063071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Ellipse 16"/>
              <p:cNvSpPr/>
              <p:nvPr/>
            </p:nvSpPr>
            <p:spPr bwMode="gray">
              <a:xfrm flipV="1">
                <a:off x="11178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Ellipse 17"/>
              <p:cNvSpPr/>
              <p:nvPr/>
            </p:nvSpPr>
            <p:spPr bwMode="gray">
              <a:xfrm flipV="1">
                <a:off x="11726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Ellipse 18"/>
              <p:cNvSpPr/>
              <p:nvPr/>
            </p:nvSpPr>
            <p:spPr bwMode="gray">
              <a:xfrm flipV="1">
                <a:off x="12274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Ellipse 19"/>
              <p:cNvSpPr/>
              <p:nvPr/>
            </p:nvSpPr>
            <p:spPr bwMode="gray">
              <a:xfrm flipV="1">
                <a:off x="12822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Ellipse 20"/>
              <p:cNvSpPr/>
              <p:nvPr/>
            </p:nvSpPr>
            <p:spPr bwMode="gray">
              <a:xfrm flipV="1">
                <a:off x="13370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Ellipse 21"/>
              <p:cNvSpPr/>
              <p:nvPr/>
            </p:nvSpPr>
            <p:spPr bwMode="gray">
              <a:xfrm flipV="1">
                <a:off x="13918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Ellipse 22"/>
              <p:cNvSpPr/>
              <p:nvPr/>
            </p:nvSpPr>
            <p:spPr bwMode="gray">
              <a:xfrm flipV="1">
                <a:off x="14466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Ellipse 23"/>
              <p:cNvSpPr/>
              <p:nvPr/>
            </p:nvSpPr>
            <p:spPr bwMode="gray">
              <a:xfrm flipV="1">
                <a:off x="1501470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Ellipse 24"/>
              <p:cNvSpPr/>
              <p:nvPr/>
            </p:nvSpPr>
            <p:spPr bwMode="gray">
              <a:xfrm flipV="1">
                <a:off x="15562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6" name="Ellipse 25"/>
              <p:cNvSpPr/>
              <p:nvPr/>
            </p:nvSpPr>
            <p:spPr bwMode="gray">
              <a:xfrm flipV="1">
                <a:off x="16110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7" name="Ellipse 26"/>
              <p:cNvSpPr/>
              <p:nvPr/>
            </p:nvSpPr>
            <p:spPr bwMode="gray">
              <a:xfrm flipV="1">
                <a:off x="16658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Ellipse 27"/>
              <p:cNvSpPr/>
              <p:nvPr/>
            </p:nvSpPr>
            <p:spPr bwMode="gray">
              <a:xfrm flipV="1">
                <a:off x="17206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29" name="Ellipse 28"/>
              <p:cNvSpPr/>
              <p:nvPr/>
            </p:nvSpPr>
            <p:spPr bwMode="gray">
              <a:xfrm flipV="1">
                <a:off x="1775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0" name="Ellipse 29"/>
              <p:cNvSpPr/>
              <p:nvPr/>
            </p:nvSpPr>
            <p:spPr bwMode="gray">
              <a:xfrm flipV="1">
                <a:off x="18302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1" name="Ellipse 30"/>
              <p:cNvSpPr/>
              <p:nvPr/>
            </p:nvSpPr>
            <p:spPr bwMode="gray">
              <a:xfrm flipV="1">
                <a:off x="18850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2" name="Ellipse 31"/>
              <p:cNvSpPr/>
              <p:nvPr/>
            </p:nvSpPr>
            <p:spPr bwMode="gray">
              <a:xfrm flipV="1">
                <a:off x="19398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3" name="Ellipse 32"/>
              <p:cNvSpPr/>
              <p:nvPr/>
            </p:nvSpPr>
            <p:spPr bwMode="gray">
              <a:xfrm flipV="1">
                <a:off x="19946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4" name="Ellipse 33"/>
              <p:cNvSpPr/>
              <p:nvPr/>
            </p:nvSpPr>
            <p:spPr bwMode="gray">
              <a:xfrm flipV="1">
                <a:off x="2049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Ellipse 34"/>
              <p:cNvSpPr/>
              <p:nvPr/>
            </p:nvSpPr>
            <p:spPr bwMode="gray">
              <a:xfrm flipV="1">
                <a:off x="21042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Ellipse 35"/>
              <p:cNvSpPr/>
              <p:nvPr/>
            </p:nvSpPr>
            <p:spPr bwMode="gray">
              <a:xfrm flipV="1">
                <a:off x="21590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Ellipse 36"/>
              <p:cNvSpPr/>
              <p:nvPr/>
            </p:nvSpPr>
            <p:spPr bwMode="gray">
              <a:xfrm flipV="1">
                <a:off x="22138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Ellipse 37"/>
              <p:cNvSpPr/>
              <p:nvPr/>
            </p:nvSpPr>
            <p:spPr bwMode="gray">
              <a:xfrm flipV="1">
                <a:off x="22686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Ellipse 38"/>
              <p:cNvSpPr/>
              <p:nvPr/>
            </p:nvSpPr>
            <p:spPr bwMode="gray">
              <a:xfrm flipV="1">
                <a:off x="23234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Ellipse 39"/>
              <p:cNvSpPr/>
              <p:nvPr/>
            </p:nvSpPr>
            <p:spPr bwMode="gray">
              <a:xfrm flipV="1">
                <a:off x="23782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Ellipse 40"/>
              <p:cNvSpPr/>
              <p:nvPr/>
            </p:nvSpPr>
            <p:spPr bwMode="gray">
              <a:xfrm flipV="1">
                <a:off x="24330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Ellipse 41"/>
              <p:cNvSpPr/>
              <p:nvPr/>
            </p:nvSpPr>
            <p:spPr bwMode="gray">
              <a:xfrm flipV="1">
                <a:off x="24878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Ellipse 42"/>
              <p:cNvSpPr/>
              <p:nvPr/>
            </p:nvSpPr>
            <p:spPr bwMode="gray">
              <a:xfrm flipV="1">
                <a:off x="25426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Ellipse 43"/>
              <p:cNvSpPr/>
              <p:nvPr/>
            </p:nvSpPr>
            <p:spPr bwMode="gray">
              <a:xfrm flipV="1">
                <a:off x="25974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Ellipse 44"/>
              <p:cNvSpPr/>
              <p:nvPr/>
            </p:nvSpPr>
            <p:spPr bwMode="gray">
              <a:xfrm flipV="1">
                <a:off x="26522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Ellipse 45"/>
              <p:cNvSpPr/>
              <p:nvPr/>
            </p:nvSpPr>
            <p:spPr bwMode="gray">
              <a:xfrm flipV="1">
                <a:off x="2707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Ellipse 46"/>
              <p:cNvSpPr/>
              <p:nvPr/>
            </p:nvSpPr>
            <p:spPr bwMode="gray">
              <a:xfrm flipV="1">
                <a:off x="2761868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Ellipse 47"/>
              <p:cNvSpPr/>
              <p:nvPr/>
            </p:nvSpPr>
            <p:spPr bwMode="gray">
              <a:xfrm flipV="1">
                <a:off x="28166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Ellipse 48"/>
              <p:cNvSpPr/>
              <p:nvPr/>
            </p:nvSpPr>
            <p:spPr bwMode="gray">
              <a:xfrm flipV="1">
                <a:off x="28714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Ellipse 49"/>
              <p:cNvSpPr/>
              <p:nvPr/>
            </p:nvSpPr>
            <p:spPr bwMode="gray">
              <a:xfrm flipV="1">
                <a:off x="29262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Ellipse 50"/>
              <p:cNvSpPr/>
              <p:nvPr/>
            </p:nvSpPr>
            <p:spPr bwMode="gray">
              <a:xfrm flipV="1">
                <a:off x="2981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Ellipse 51"/>
              <p:cNvSpPr/>
              <p:nvPr/>
            </p:nvSpPr>
            <p:spPr bwMode="gray">
              <a:xfrm flipV="1">
                <a:off x="30358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" name="Ellipse 52"/>
              <p:cNvSpPr/>
              <p:nvPr/>
            </p:nvSpPr>
            <p:spPr bwMode="gray">
              <a:xfrm flipV="1">
                <a:off x="30906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" name="Ellipse 53"/>
              <p:cNvSpPr/>
              <p:nvPr/>
            </p:nvSpPr>
            <p:spPr bwMode="gray">
              <a:xfrm flipV="1">
                <a:off x="31454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" name="Ellipse 54"/>
              <p:cNvSpPr/>
              <p:nvPr/>
            </p:nvSpPr>
            <p:spPr bwMode="gray">
              <a:xfrm flipV="1">
                <a:off x="32002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" name="Ellipse 55"/>
              <p:cNvSpPr/>
              <p:nvPr/>
            </p:nvSpPr>
            <p:spPr bwMode="gray">
              <a:xfrm flipV="1">
                <a:off x="32550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" name="Ellipse 56"/>
              <p:cNvSpPr/>
              <p:nvPr/>
            </p:nvSpPr>
            <p:spPr bwMode="gray">
              <a:xfrm flipV="1">
                <a:off x="33098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" name="Ellipse 57"/>
              <p:cNvSpPr/>
              <p:nvPr/>
            </p:nvSpPr>
            <p:spPr bwMode="gray">
              <a:xfrm flipV="1">
                <a:off x="33646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" name="Ellipse 58"/>
              <p:cNvSpPr/>
              <p:nvPr/>
            </p:nvSpPr>
            <p:spPr bwMode="gray">
              <a:xfrm flipV="1">
                <a:off x="34194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" name="Ellipse 59"/>
              <p:cNvSpPr/>
              <p:nvPr/>
            </p:nvSpPr>
            <p:spPr bwMode="gray">
              <a:xfrm flipV="1">
                <a:off x="34742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Ellipse 60"/>
              <p:cNvSpPr/>
              <p:nvPr/>
            </p:nvSpPr>
            <p:spPr bwMode="gray">
              <a:xfrm flipV="1">
                <a:off x="3529065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4" name="Gleichschenkliges Dreieck 63"/>
              <p:cNvSpPr/>
              <p:nvPr/>
            </p:nvSpPr>
            <p:spPr bwMode="gray">
              <a:xfrm flipV="1">
                <a:off x="739529" y="2866536"/>
                <a:ext cx="142629" cy="135062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5" name="Rechteck 64"/>
            <p:cNvSpPr/>
            <p:nvPr/>
          </p:nvSpPr>
          <p:spPr bwMode="gray">
            <a:xfrm>
              <a:off x="627061" y="1988825"/>
              <a:ext cx="3005769" cy="57896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6</a:t>
              </a:r>
              <a:r>
                <a:rPr lang="el-GR" sz="1400" dirty="0" smtClean="0">
                  <a:solidFill>
                    <a:schemeClr val="bg1"/>
                  </a:solidFill>
                </a:rPr>
                <a:t>μ</a:t>
              </a:r>
              <a:r>
                <a:rPr lang="de-DE" sz="1400" dirty="0" smtClean="0">
                  <a:solidFill>
                    <a:schemeClr val="bg1"/>
                  </a:solidFill>
                </a:rPr>
                <a:t>g/m</a:t>
              </a:r>
              <a:r>
                <a:rPr lang="de-DE" sz="1400" baseline="30000" dirty="0" smtClean="0">
                  <a:solidFill>
                    <a:schemeClr val="bg1"/>
                  </a:solidFill>
                </a:rPr>
                <a:t>3</a:t>
              </a:r>
              <a:endParaRPr lang="en-US" sz="1400" baseline="30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68" name="Rechteck 67"/>
            <p:cNvSpPr/>
            <p:nvPr/>
          </p:nvSpPr>
          <p:spPr bwMode="gray">
            <a:xfrm>
              <a:off x="3767383" y="1557336"/>
              <a:ext cx="3005769" cy="223281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rtlCol="0" anchor="t"/>
            <a:lstStyle/>
            <a:p>
              <a:r>
                <a:rPr lang="en-US" sz="1000" dirty="0" smtClean="0">
                  <a:solidFill>
                    <a:schemeClr val="bg1"/>
                  </a:solidFill>
                </a:rPr>
                <a:t>PM2.5</a:t>
              </a:r>
            </a:p>
          </p:txBody>
        </p:sp>
        <p:sp>
          <p:nvSpPr>
            <p:cNvPr id="69" name="Rechteck 68"/>
            <p:cNvSpPr/>
            <p:nvPr/>
          </p:nvSpPr>
          <p:spPr bwMode="gray">
            <a:xfrm>
              <a:off x="3767383" y="3211189"/>
              <a:ext cx="3005769" cy="578959"/>
            </a:xfrm>
            <a:prstGeom prst="rect">
              <a:avLst/>
            </a:prstGeom>
            <a:solidFill>
              <a:srgbClr val="FFF200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Moderate</a:t>
              </a:r>
            </a:p>
          </p:txBody>
        </p:sp>
        <p:sp>
          <p:nvSpPr>
            <p:cNvPr id="72" name="Rechteck 71"/>
            <p:cNvSpPr/>
            <p:nvPr/>
          </p:nvSpPr>
          <p:spPr bwMode="gray">
            <a:xfrm>
              <a:off x="3767383" y="1988825"/>
              <a:ext cx="3005769" cy="5789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36</a:t>
              </a:r>
              <a:r>
                <a:rPr lang="el-GR" sz="1400" dirty="0" smtClean="0">
                  <a:solidFill>
                    <a:schemeClr val="bg1"/>
                  </a:solidFill>
                </a:rPr>
                <a:t>μ</a:t>
              </a:r>
              <a:r>
                <a:rPr lang="de-DE" sz="1400" dirty="0" smtClean="0">
                  <a:solidFill>
                    <a:schemeClr val="bg1"/>
                  </a:solidFill>
                </a:rPr>
                <a:t>g/m</a:t>
              </a:r>
              <a:r>
                <a:rPr lang="de-DE" sz="1400" baseline="30000" dirty="0" smtClean="0">
                  <a:solidFill>
                    <a:schemeClr val="bg1"/>
                  </a:solidFill>
                </a:rPr>
                <a:t>3</a:t>
              </a:r>
              <a:endParaRPr lang="en-US" sz="1400" baseline="300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126" name="Rechteck 125"/>
            <p:cNvSpPr/>
            <p:nvPr/>
          </p:nvSpPr>
          <p:spPr bwMode="gray">
            <a:xfrm>
              <a:off x="6918303" y="1557336"/>
              <a:ext cx="3005769" cy="2232813"/>
            </a:xfrm>
            <a:prstGeom prst="rect">
              <a:avLst/>
            </a:prstGeom>
            <a:solidFill>
              <a:schemeClr val="tx1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lIns="72000" tIns="72000" rIns="72000" bIns="72000" rtlCol="0" anchor="t"/>
            <a:lstStyle/>
            <a:p>
              <a:r>
                <a:rPr lang="en-US" sz="1000" dirty="0" smtClean="0">
                  <a:solidFill>
                    <a:schemeClr val="bg1"/>
                  </a:solidFill>
                </a:rPr>
                <a:t>PM2.5</a:t>
              </a:r>
            </a:p>
          </p:txBody>
        </p:sp>
        <p:sp>
          <p:nvSpPr>
            <p:cNvPr id="127" name="Rechteck 126"/>
            <p:cNvSpPr/>
            <p:nvPr/>
          </p:nvSpPr>
          <p:spPr bwMode="gray">
            <a:xfrm>
              <a:off x="6918303" y="3211189"/>
              <a:ext cx="3005769" cy="578959"/>
            </a:xfrm>
            <a:prstGeom prst="rect">
              <a:avLst/>
            </a:prstGeom>
            <a:solidFill>
              <a:schemeClr val="accent3"/>
            </a:solidFill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1200" dirty="0" smtClean="0">
                  <a:solidFill>
                    <a:schemeClr val="tx1"/>
                  </a:solidFill>
                </a:rPr>
                <a:t>Poor</a:t>
              </a:r>
            </a:p>
          </p:txBody>
        </p:sp>
        <p:sp>
          <p:nvSpPr>
            <p:cNvPr id="130" name="Rechteck 129"/>
            <p:cNvSpPr/>
            <p:nvPr/>
          </p:nvSpPr>
          <p:spPr bwMode="gray">
            <a:xfrm>
              <a:off x="6918303" y="1988825"/>
              <a:ext cx="3005769" cy="5789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/>
          </p:spPr>
          <p:txBody>
            <a:bodyPr rtlCol="0" anchor="ctr"/>
            <a:lstStyle/>
            <a:p>
              <a:pPr algn="ctr"/>
              <a:r>
                <a:rPr lang="en-US" sz="2400" dirty="0" smtClean="0">
                  <a:solidFill>
                    <a:schemeClr val="bg1"/>
                  </a:solidFill>
                </a:rPr>
                <a:t>77</a:t>
              </a:r>
              <a:r>
                <a:rPr lang="el-GR" sz="1400" dirty="0" smtClean="0">
                  <a:solidFill>
                    <a:schemeClr val="bg1"/>
                  </a:solidFill>
                </a:rPr>
                <a:t>μ</a:t>
              </a:r>
              <a:r>
                <a:rPr lang="de-DE" sz="1400" dirty="0" smtClean="0">
                  <a:solidFill>
                    <a:schemeClr val="bg1"/>
                  </a:solidFill>
                </a:rPr>
                <a:t>g/m</a:t>
              </a:r>
              <a:r>
                <a:rPr lang="de-DE" sz="1400" baseline="30000" dirty="0" smtClean="0">
                  <a:solidFill>
                    <a:schemeClr val="bg1"/>
                  </a:solidFill>
                </a:rPr>
                <a:t>3</a:t>
              </a:r>
              <a:endParaRPr lang="en-US" sz="1400" baseline="30000" dirty="0" smtClean="0">
                <a:solidFill>
                  <a:schemeClr val="bg1"/>
                </a:solidFill>
              </a:endParaRPr>
            </a:p>
          </p:txBody>
        </p:sp>
        <p:grpSp>
          <p:nvGrpSpPr>
            <p:cNvPr id="365" name="Gruppieren 364"/>
            <p:cNvGrpSpPr/>
            <p:nvPr/>
          </p:nvGrpSpPr>
          <p:grpSpPr bwMode="gray">
            <a:xfrm>
              <a:off x="3872944" y="2846384"/>
              <a:ext cx="2794645" cy="207465"/>
              <a:chOff x="734273" y="2866536"/>
              <a:chExt cx="2838334" cy="210708"/>
            </a:xfrm>
          </p:grpSpPr>
          <p:sp>
            <p:nvSpPr>
              <p:cNvPr id="366" name="Ellipse 365"/>
              <p:cNvSpPr/>
              <p:nvPr/>
            </p:nvSpPr>
            <p:spPr bwMode="gray">
              <a:xfrm flipV="1">
                <a:off x="7342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7" name="Ellipse 366"/>
              <p:cNvSpPr/>
              <p:nvPr/>
            </p:nvSpPr>
            <p:spPr bwMode="gray">
              <a:xfrm flipV="1">
                <a:off x="7890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8" name="Ellipse 367"/>
              <p:cNvSpPr/>
              <p:nvPr/>
            </p:nvSpPr>
            <p:spPr bwMode="gray">
              <a:xfrm flipV="1">
                <a:off x="8438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69" name="Ellipse 368"/>
              <p:cNvSpPr/>
              <p:nvPr/>
            </p:nvSpPr>
            <p:spPr bwMode="gray">
              <a:xfrm flipV="1">
                <a:off x="8986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0" name="Ellipse 369"/>
              <p:cNvSpPr/>
              <p:nvPr/>
            </p:nvSpPr>
            <p:spPr bwMode="gray">
              <a:xfrm flipV="1">
                <a:off x="9534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1" name="Ellipse 370"/>
              <p:cNvSpPr/>
              <p:nvPr/>
            </p:nvSpPr>
            <p:spPr bwMode="gray">
              <a:xfrm flipV="1">
                <a:off x="10082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2" name="Ellipse 371"/>
              <p:cNvSpPr/>
              <p:nvPr/>
            </p:nvSpPr>
            <p:spPr bwMode="gray">
              <a:xfrm flipV="1">
                <a:off x="1063071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73" name="Ellipse 372"/>
              <p:cNvSpPr/>
              <p:nvPr/>
            </p:nvSpPr>
            <p:spPr bwMode="gray">
              <a:xfrm flipV="1">
                <a:off x="11178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4" name="Ellipse 373"/>
              <p:cNvSpPr/>
              <p:nvPr/>
            </p:nvSpPr>
            <p:spPr bwMode="gray">
              <a:xfrm flipV="1">
                <a:off x="11726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5" name="Ellipse 374"/>
              <p:cNvSpPr/>
              <p:nvPr/>
            </p:nvSpPr>
            <p:spPr bwMode="gray">
              <a:xfrm flipV="1">
                <a:off x="12274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6" name="Ellipse 375"/>
              <p:cNvSpPr/>
              <p:nvPr/>
            </p:nvSpPr>
            <p:spPr bwMode="gray">
              <a:xfrm flipV="1">
                <a:off x="12822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7" name="Ellipse 376"/>
              <p:cNvSpPr/>
              <p:nvPr/>
            </p:nvSpPr>
            <p:spPr bwMode="gray">
              <a:xfrm flipV="1">
                <a:off x="13370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8" name="Ellipse 377"/>
              <p:cNvSpPr/>
              <p:nvPr/>
            </p:nvSpPr>
            <p:spPr bwMode="gray">
              <a:xfrm flipV="1">
                <a:off x="13918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79" name="Ellipse 378"/>
              <p:cNvSpPr/>
              <p:nvPr/>
            </p:nvSpPr>
            <p:spPr bwMode="gray">
              <a:xfrm flipV="1">
                <a:off x="14466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0" name="Ellipse 379"/>
              <p:cNvSpPr/>
              <p:nvPr/>
            </p:nvSpPr>
            <p:spPr bwMode="gray">
              <a:xfrm flipV="1">
                <a:off x="1501470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1" name="Ellipse 380"/>
              <p:cNvSpPr/>
              <p:nvPr/>
            </p:nvSpPr>
            <p:spPr bwMode="gray">
              <a:xfrm flipV="1">
                <a:off x="15562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382" name="Ellipse 381"/>
              <p:cNvSpPr/>
              <p:nvPr/>
            </p:nvSpPr>
            <p:spPr bwMode="gray">
              <a:xfrm flipV="1">
                <a:off x="16110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3" name="Ellipse 382"/>
              <p:cNvSpPr/>
              <p:nvPr/>
            </p:nvSpPr>
            <p:spPr bwMode="gray">
              <a:xfrm flipV="1">
                <a:off x="16658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4" name="Ellipse 383"/>
              <p:cNvSpPr/>
              <p:nvPr/>
            </p:nvSpPr>
            <p:spPr bwMode="gray">
              <a:xfrm flipV="1">
                <a:off x="17206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5" name="Ellipse 384"/>
              <p:cNvSpPr/>
              <p:nvPr/>
            </p:nvSpPr>
            <p:spPr bwMode="gray">
              <a:xfrm flipV="1">
                <a:off x="1775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6" name="Ellipse 385"/>
              <p:cNvSpPr/>
              <p:nvPr/>
            </p:nvSpPr>
            <p:spPr bwMode="gray">
              <a:xfrm flipV="1">
                <a:off x="18302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7" name="Ellipse 386"/>
              <p:cNvSpPr/>
              <p:nvPr/>
            </p:nvSpPr>
            <p:spPr bwMode="gray">
              <a:xfrm flipV="1">
                <a:off x="18850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8" name="Ellipse 387"/>
              <p:cNvSpPr/>
              <p:nvPr/>
            </p:nvSpPr>
            <p:spPr bwMode="gray">
              <a:xfrm flipV="1">
                <a:off x="19398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89" name="Ellipse 388"/>
              <p:cNvSpPr/>
              <p:nvPr/>
            </p:nvSpPr>
            <p:spPr bwMode="gray">
              <a:xfrm flipV="1">
                <a:off x="19946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0" name="Ellipse 389"/>
              <p:cNvSpPr/>
              <p:nvPr/>
            </p:nvSpPr>
            <p:spPr bwMode="gray">
              <a:xfrm flipV="1">
                <a:off x="2049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1" name="Ellipse 390"/>
              <p:cNvSpPr/>
              <p:nvPr/>
            </p:nvSpPr>
            <p:spPr bwMode="gray">
              <a:xfrm flipV="1">
                <a:off x="21042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2" name="Ellipse 391"/>
              <p:cNvSpPr/>
              <p:nvPr/>
            </p:nvSpPr>
            <p:spPr bwMode="gray">
              <a:xfrm flipV="1">
                <a:off x="21590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3" name="Ellipse 392"/>
              <p:cNvSpPr/>
              <p:nvPr/>
            </p:nvSpPr>
            <p:spPr bwMode="gray">
              <a:xfrm flipV="1">
                <a:off x="22138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4" name="Ellipse 393"/>
              <p:cNvSpPr/>
              <p:nvPr/>
            </p:nvSpPr>
            <p:spPr bwMode="gray">
              <a:xfrm flipV="1">
                <a:off x="22686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5" name="Ellipse 394"/>
              <p:cNvSpPr/>
              <p:nvPr/>
            </p:nvSpPr>
            <p:spPr bwMode="gray">
              <a:xfrm flipV="1">
                <a:off x="23234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6" name="Ellipse 395"/>
              <p:cNvSpPr/>
              <p:nvPr/>
            </p:nvSpPr>
            <p:spPr bwMode="gray">
              <a:xfrm flipV="1">
                <a:off x="23782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7" name="Ellipse 396"/>
              <p:cNvSpPr/>
              <p:nvPr/>
            </p:nvSpPr>
            <p:spPr bwMode="gray">
              <a:xfrm flipV="1">
                <a:off x="24330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8" name="Ellipse 397"/>
              <p:cNvSpPr/>
              <p:nvPr/>
            </p:nvSpPr>
            <p:spPr bwMode="gray">
              <a:xfrm flipV="1">
                <a:off x="24878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399" name="Ellipse 398"/>
              <p:cNvSpPr/>
              <p:nvPr/>
            </p:nvSpPr>
            <p:spPr bwMode="gray">
              <a:xfrm flipV="1">
                <a:off x="25426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0" name="Ellipse 399"/>
              <p:cNvSpPr/>
              <p:nvPr/>
            </p:nvSpPr>
            <p:spPr bwMode="gray">
              <a:xfrm flipV="1">
                <a:off x="25974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1" name="Ellipse 400"/>
              <p:cNvSpPr/>
              <p:nvPr/>
            </p:nvSpPr>
            <p:spPr bwMode="gray">
              <a:xfrm flipV="1">
                <a:off x="26522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2" name="Ellipse 401"/>
              <p:cNvSpPr/>
              <p:nvPr/>
            </p:nvSpPr>
            <p:spPr bwMode="gray">
              <a:xfrm flipV="1">
                <a:off x="2707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3" name="Ellipse 402"/>
              <p:cNvSpPr/>
              <p:nvPr/>
            </p:nvSpPr>
            <p:spPr bwMode="gray">
              <a:xfrm flipV="1">
                <a:off x="2761868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4" name="Ellipse 403"/>
              <p:cNvSpPr/>
              <p:nvPr/>
            </p:nvSpPr>
            <p:spPr bwMode="gray">
              <a:xfrm flipV="1">
                <a:off x="28166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5" name="Ellipse 404"/>
              <p:cNvSpPr/>
              <p:nvPr/>
            </p:nvSpPr>
            <p:spPr bwMode="gray">
              <a:xfrm flipV="1">
                <a:off x="28714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6" name="Ellipse 405"/>
              <p:cNvSpPr/>
              <p:nvPr/>
            </p:nvSpPr>
            <p:spPr bwMode="gray">
              <a:xfrm flipV="1">
                <a:off x="29262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7" name="Ellipse 406"/>
              <p:cNvSpPr/>
              <p:nvPr/>
            </p:nvSpPr>
            <p:spPr bwMode="gray">
              <a:xfrm flipV="1">
                <a:off x="2981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8" name="Ellipse 407"/>
              <p:cNvSpPr/>
              <p:nvPr/>
            </p:nvSpPr>
            <p:spPr bwMode="gray">
              <a:xfrm flipV="1">
                <a:off x="30358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09" name="Ellipse 408"/>
              <p:cNvSpPr/>
              <p:nvPr/>
            </p:nvSpPr>
            <p:spPr bwMode="gray">
              <a:xfrm flipV="1">
                <a:off x="30906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0" name="Ellipse 409"/>
              <p:cNvSpPr/>
              <p:nvPr/>
            </p:nvSpPr>
            <p:spPr bwMode="gray">
              <a:xfrm flipV="1">
                <a:off x="31454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1" name="Ellipse 410"/>
              <p:cNvSpPr/>
              <p:nvPr/>
            </p:nvSpPr>
            <p:spPr bwMode="gray">
              <a:xfrm flipV="1">
                <a:off x="32002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2" name="Ellipse 411"/>
              <p:cNvSpPr/>
              <p:nvPr/>
            </p:nvSpPr>
            <p:spPr bwMode="gray">
              <a:xfrm flipV="1">
                <a:off x="32550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3" name="Ellipse 412"/>
              <p:cNvSpPr/>
              <p:nvPr/>
            </p:nvSpPr>
            <p:spPr bwMode="gray">
              <a:xfrm flipV="1">
                <a:off x="33098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4" name="Ellipse 413"/>
              <p:cNvSpPr/>
              <p:nvPr/>
            </p:nvSpPr>
            <p:spPr bwMode="gray">
              <a:xfrm flipV="1">
                <a:off x="33646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5" name="Ellipse 414"/>
              <p:cNvSpPr/>
              <p:nvPr/>
            </p:nvSpPr>
            <p:spPr bwMode="gray">
              <a:xfrm flipV="1">
                <a:off x="34194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6" name="Ellipse 415"/>
              <p:cNvSpPr/>
              <p:nvPr/>
            </p:nvSpPr>
            <p:spPr bwMode="gray">
              <a:xfrm flipV="1">
                <a:off x="34742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7" name="Ellipse 416"/>
              <p:cNvSpPr/>
              <p:nvPr/>
            </p:nvSpPr>
            <p:spPr bwMode="gray">
              <a:xfrm flipV="1">
                <a:off x="3529065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18" name="Gleichschenkliges Dreieck 417"/>
              <p:cNvSpPr/>
              <p:nvPr/>
            </p:nvSpPr>
            <p:spPr bwMode="gray">
              <a:xfrm flipV="1">
                <a:off x="739529" y="2866536"/>
                <a:ext cx="142629" cy="135062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419" name="Gruppieren 418"/>
            <p:cNvGrpSpPr/>
            <p:nvPr/>
          </p:nvGrpSpPr>
          <p:grpSpPr bwMode="gray">
            <a:xfrm>
              <a:off x="7023865" y="2846384"/>
              <a:ext cx="2794645" cy="207465"/>
              <a:chOff x="734273" y="2866536"/>
              <a:chExt cx="2838334" cy="210708"/>
            </a:xfrm>
          </p:grpSpPr>
          <p:sp>
            <p:nvSpPr>
              <p:cNvPr id="420" name="Ellipse 419"/>
              <p:cNvSpPr/>
              <p:nvPr/>
            </p:nvSpPr>
            <p:spPr bwMode="gray">
              <a:xfrm flipV="1">
                <a:off x="7342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1" name="Ellipse 420"/>
              <p:cNvSpPr/>
              <p:nvPr/>
            </p:nvSpPr>
            <p:spPr bwMode="gray">
              <a:xfrm flipV="1">
                <a:off x="7890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2" name="Ellipse 421"/>
              <p:cNvSpPr/>
              <p:nvPr/>
            </p:nvSpPr>
            <p:spPr bwMode="gray">
              <a:xfrm flipV="1">
                <a:off x="8438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3" name="Ellipse 422"/>
              <p:cNvSpPr/>
              <p:nvPr/>
            </p:nvSpPr>
            <p:spPr bwMode="gray">
              <a:xfrm flipV="1">
                <a:off x="8986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4" name="Ellipse 423"/>
              <p:cNvSpPr/>
              <p:nvPr/>
            </p:nvSpPr>
            <p:spPr bwMode="gray">
              <a:xfrm flipV="1">
                <a:off x="9534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5" name="Ellipse 424"/>
              <p:cNvSpPr/>
              <p:nvPr/>
            </p:nvSpPr>
            <p:spPr bwMode="gray">
              <a:xfrm flipV="1">
                <a:off x="10082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6" name="Ellipse 425"/>
              <p:cNvSpPr/>
              <p:nvPr/>
            </p:nvSpPr>
            <p:spPr bwMode="gray">
              <a:xfrm flipV="1">
                <a:off x="1063071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27" name="Ellipse 426"/>
              <p:cNvSpPr/>
              <p:nvPr/>
            </p:nvSpPr>
            <p:spPr bwMode="gray">
              <a:xfrm flipV="1">
                <a:off x="11178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8" name="Ellipse 427"/>
              <p:cNvSpPr/>
              <p:nvPr/>
            </p:nvSpPr>
            <p:spPr bwMode="gray">
              <a:xfrm flipV="1">
                <a:off x="11726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29" name="Ellipse 428"/>
              <p:cNvSpPr/>
              <p:nvPr/>
            </p:nvSpPr>
            <p:spPr bwMode="gray">
              <a:xfrm flipV="1">
                <a:off x="12274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0" name="Ellipse 429"/>
              <p:cNvSpPr/>
              <p:nvPr/>
            </p:nvSpPr>
            <p:spPr bwMode="gray">
              <a:xfrm flipV="1">
                <a:off x="12822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1" name="Ellipse 430"/>
              <p:cNvSpPr/>
              <p:nvPr/>
            </p:nvSpPr>
            <p:spPr bwMode="gray">
              <a:xfrm flipV="1">
                <a:off x="13370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2" name="Ellipse 431"/>
              <p:cNvSpPr/>
              <p:nvPr/>
            </p:nvSpPr>
            <p:spPr bwMode="gray">
              <a:xfrm flipV="1">
                <a:off x="13918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3" name="Ellipse 432"/>
              <p:cNvSpPr/>
              <p:nvPr/>
            </p:nvSpPr>
            <p:spPr bwMode="gray">
              <a:xfrm flipV="1">
                <a:off x="14466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4" name="Ellipse 433"/>
              <p:cNvSpPr/>
              <p:nvPr/>
            </p:nvSpPr>
            <p:spPr bwMode="gray">
              <a:xfrm flipV="1">
                <a:off x="1501470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5" name="Ellipse 434"/>
              <p:cNvSpPr/>
              <p:nvPr/>
            </p:nvSpPr>
            <p:spPr bwMode="gray">
              <a:xfrm flipV="1">
                <a:off x="15562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36" name="Ellipse 435"/>
              <p:cNvSpPr/>
              <p:nvPr/>
            </p:nvSpPr>
            <p:spPr bwMode="gray">
              <a:xfrm flipV="1">
                <a:off x="16110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7" name="Ellipse 436"/>
              <p:cNvSpPr/>
              <p:nvPr/>
            </p:nvSpPr>
            <p:spPr bwMode="gray">
              <a:xfrm flipV="1">
                <a:off x="16658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8" name="Ellipse 437"/>
              <p:cNvSpPr/>
              <p:nvPr/>
            </p:nvSpPr>
            <p:spPr bwMode="gray">
              <a:xfrm flipV="1">
                <a:off x="17206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39" name="Ellipse 438"/>
              <p:cNvSpPr/>
              <p:nvPr/>
            </p:nvSpPr>
            <p:spPr bwMode="gray">
              <a:xfrm flipV="1">
                <a:off x="1775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0" name="Ellipse 439"/>
              <p:cNvSpPr/>
              <p:nvPr/>
            </p:nvSpPr>
            <p:spPr bwMode="gray">
              <a:xfrm flipV="1">
                <a:off x="18302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1" name="Ellipse 440"/>
              <p:cNvSpPr/>
              <p:nvPr/>
            </p:nvSpPr>
            <p:spPr bwMode="gray">
              <a:xfrm flipV="1">
                <a:off x="18850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2" name="Ellipse 441"/>
              <p:cNvSpPr/>
              <p:nvPr/>
            </p:nvSpPr>
            <p:spPr bwMode="gray">
              <a:xfrm flipV="1">
                <a:off x="19398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3" name="Ellipse 442"/>
              <p:cNvSpPr/>
              <p:nvPr/>
            </p:nvSpPr>
            <p:spPr bwMode="gray">
              <a:xfrm flipV="1">
                <a:off x="19946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4" name="Ellipse 443"/>
              <p:cNvSpPr/>
              <p:nvPr/>
            </p:nvSpPr>
            <p:spPr bwMode="gray">
              <a:xfrm flipV="1">
                <a:off x="2049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5" name="Ellipse 444"/>
              <p:cNvSpPr/>
              <p:nvPr/>
            </p:nvSpPr>
            <p:spPr bwMode="gray">
              <a:xfrm flipV="1">
                <a:off x="21042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6" name="Ellipse 445"/>
              <p:cNvSpPr/>
              <p:nvPr/>
            </p:nvSpPr>
            <p:spPr bwMode="gray">
              <a:xfrm flipV="1">
                <a:off x="21590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7" name="Ellipse 446"/>
              <p:cNvSpPr/>
              <p:nvPr/>
            </p:nvSpPr>
            <p:spPr bwMode="gray">
              <a:xfrm flipV="1">
                <a:off x="22138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8" name="Ellipse 447"/>
              <p:cNvSpPr/>
              <p:nvPr/>
            </p:nvSpPr>
            <p:spPr bwMode="gray">
              <a:xfrm flipV="1">
                <a:off x="22686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49" name="Ellipse 448"/>
              <p:cNvSpPr/>
              <p:nvPr/>
            </p:nvSpPr>
            <p:spPr bwMode="gray">
              <a:xfrm flipV="1">
                <a:off x="23234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0" name="Ellipse 449"/>
              <p:cNvSpPr/>
              <p:nvPr/>
            </p:nvSpPr>
            <p:spPr bwMode="gray">
              <a:xfrm flipV="1">
                <a:off x="23782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1" name="Ellipse 450"/>
              <p:cNvSpPr/>
              <p:nvPr/>
            </p:nvSpPr>
            <p:spPr bwMode="gray">
              <a:xfrm flipV="1">
                <a:off x="24330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2" name="Ellipse 451"/>
              <p:cNvSpPr/>
              <p:nvPr/>
            </p:nvSpPr>
            <p:spPr bwMode="gray">
              <a:xfrm flipV="1">
                <a:off x="24878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3" name="Ellipse 452"/>
              <p:cNvSpPr/>
              <p:nvPr/>
            </p:nvSpPr>
            <p:spPr bwMode="gray">
              <a:xfrm flipV="1">
                <a:off x="25426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4" name="Ellipse 453"/>
              <p:cNvSpPr/>
              <p:nvPr/>
            </p:nvSpPr>
            <p:spPr bwMode="gray">
              <a:xfrm flipV="1">
                <a:off x="25974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5" name="Ellipse 454"/>
              <p:cNvSpPr/>
              <p:nvPr/>
            </p:nvSpPr>
            <p:spPr bwMode="gray">
              <a:xfrm flipV="1">
                <a:off x="26522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6" name="Ellipse 455"/>
              <p:cNvSpPr/>
              <p:nvPr/>
            </p:nvSpPr>
            <p:spPr bwMode="gray">
              <a:xfrm flipV="1">
                <a:off x="2707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7" name="Ellipse 456"/>
              <p:cNvSpPr/>
              <p:nvPr/>
            </p:nvSpPr>
            <p:spPr bwMode="gray">
              <a:xfrm flipV="1">
                <a:off x="2761868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8" name="Ellipse 457"/>
              <p:cNvSpPr/>
              <p:nvPr/>
            </p:nvSpPr>
            <p:spPr bwMode="gray">
              <a:xfrm flipV="1">
                <a:off x="28166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59" name="Ellipse 458"/>
              <p:cNvSpPr/>
              <p:nvPr/>
            </p:nvSpPr>
            <p:spPr bwMode="gray">
              <a:xfrm flipV="1">
                <a:off x="28714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0" name="Ellipse 459"/>
              <p:cNvSpPr/>
              <p:nvPr/>
            </p:nvSpPr>
            <p:spPr bwMode="gray">
              <a:xfrm flipV="1">
                <a:off x="29262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1" name="Ellipse 460"/>
              <p:cNvSpPr/>
              <p:nvPr/>
            </p:nvSpPr>
            <p:spPr bwMode="gray">
              <a:xfrm flipV="1">
                <a:off x="2981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2" name="Ellipse 461"/>
              <p:cNvSpPr/>
              <p:nvPr/>
            </p:nvSpPr>
            <p:spPr bwMode="gray">
              <a:xfrm flipV="1">
                <a:off x="30358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3" name="Ellipse 462"/>
              <p:cNvSpPr/>
              <p:nvPr/>
            </p:nvSpPr>
            <p:spPr bwMode="gray">
              <a:xfrm flipV="1">
                <a:off x="30906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4" name="Ellipse 463"/>
              <p:cNvSpPr/>
              <p:nvPr/>
            </p:nvSpPr>
            <p:spPr bwMode="gray">
              <a:xfrm flipV="1">
                <a:off x="31454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5" name="Ellipse 464"/>
              <p:cNvSpPr/>
              <p:nvPr/>
            </p:nvSpPr>
            <p:spPr bwMode="gray">
              <a:xfrm flipV="1">
                <a:off x="32002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6" name="Ellipse 465"/>
              <p:cNvSpPr/>
              <p:nvPr/>
            </p:nvSpPr>
            <p:spPr bwMode="gray">
              <a:xfrm flipV="1">
                <a:off x="32550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7" name="Ellipse 466"/>
              <p:cNvSpPr/>
              <p:nvPr/>
            </p:nvSpPr>
            <p:spPr bwMode="gray">
              <a:xfrm flipV="1">
                <a:off x="33098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8" name="Ellipse 467"/>
              <p:cNvSpPr/>
              <p:nvPr/>
            </p:nvSpPr>
            <p:spPr bwMode="gray">
              <a:xfrm flipV="1">
                <a:off x="33646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69" name="Ellipse 468"/>
              <p:cNvSpPr/>
              <p:nvPr/>
            </p:nvSpPr>
            <p:spPr bwMode="gray">
              <a:xfrm flipV="1">
                <a:off x="34194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0" name="Ellipse 469"/>
              <p:cNvSpPr/>
              <p:nvPr/>
            </p:nvSpPr>
            <p:spPr bwMode="gray">
              <a:xfrm flipV="1">
                <a:off x="34742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1" name="Ellipse 470"/>
              <p:cNvSpPr/>
              <p:nvPr/>
            </p:nvSpPr>
            <p:spPr bwMode="gray">
              <a:xfrm flipV="1">
                <a:off x="3529065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472" name="Gleichschenkliges Dreieck 471"/>
              <p:cNvSpPr/>
              <p:nvPr/>
            </p:nvSpPr>
            <p:spPr bwMode="gray">
              <a:xfrm flipV="1">
                <a:off x="1621584" y="2866536"/>
                <a:ext cx="142629" cy="135062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37" name="Gruppieren 636"/>
            <p:cNvGrpSpPr/>
            <p:nvPr/>
          </p:nvGrpSpPr>
          <p:grpSpPr bwMode="gray">
            <a:xfrm>
              <a:off x="627061" y="3933825"/>
              <a:ext cx="3005769" cy="2267483"/>
              <a:chOff x="627061" y="3933825"/>
              <a:chExt cx="3005769" cy="2267483"/>
            </a:xfrm>
          </p:grpSpPr>
          <p:sp>
            <p:nvSpPr>
              <p:cNvPr id="184" name="Rechteck 183"/>
              <p:cNvSpPr/>
              <p:nvPr/>
            </p:nvSpPr>
            <p:spPr bwMode="gray">
              <a:xfrm>
                <a:off x="627061" y="3933825"/>
                <a:ext cx="3005769" cy="2267483"/>
              </a:xfrm>
              <a:prstGeom prst="rect">
                <a:avLst/>
              </a:prstGeom>
              <a:solidFill>
                <a:schemeClr val="tx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lIns="72000" tIns="72000" rIns="72000" bIns="72000" rtlCol="0" anchor="t"/>
              <a:lstStyle/>
              <a:p>
                <a:r>
                  <a:rPr lang="en-US" sz="1000" dirty="0" smtClean="0">
                    <a:solidFill>
                      <a:schemeClr val="bg1"/>
                    </a:solidFill>
                  </a:rPr>
                  <a:t>PM2.5</a:t>
                </a:r>
              </a:p>
            </p:txBody>
          </p:sp>
          <p:sp>
            <p:nvSpPr>
              <p:cNvPr id="185" name="Rechteck 184"/>
              <p:cNvSpPr/>
              <p:nvPr/>
            </p:nvSpPr>
            <p:spPr bwMode="gray">
              <a:xfrm>
                <a:off x="627061" y="5622348"/>
                <a:ext cx="3005769" cy="578960"/>
              </a:xfrm>
              <a:prstGeom prst="rect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r>
                  <a:rPr lang="en-US" sz="1200" dirty="0" smtClean="0">
                    <a:solidFill>
                      <a:schemeClr val="bg1"/>
                    </a:solidFill>
                  </a:rPr>
                  <a:t>Unhealthy</a:t>
                </a:r>
              </a:p>
            </p:txBody>
          </p:sp>
          <p:sp>
            <p:nvSpPr>
              <p:cNvPr id="188" name="Rechteck 187"/>
              <p:cNvSpPr/>
              <p:nvPr/>
            </p:nvSpPr>
            <p:spPr bwMode="gray">
              <a:xfrm>
                <a:off x="627061" y="4399984"/>
                <a:ext cx="3005769" cy="57896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r>
                  <a:rPr lang="en-US" sz="2400" dirty="0" smtClean="0">
                    <a:solidFill>
                      <a:schemeClr val="bg1"/>
                    </a:solidFill>
                  </a:rPr>
                  <a:t>120</a:t>
                </a:r>
                <a:r>
                  <a:rPr lang="el-GR" sz="1400" dirty="0" smtClean="0">
                    <a:solidFill>
                      <a:schemeClr val="bg1"/>
                    </a:solidFill>
                  </a:rPr>
                  <a:t>μ</a:t>
                </a:r>
                <a:r>
                  <a:rPr lang="de-DE" sz="1400" dirty="0" smtClean="0">
                    <a:solidFill>
                      <a:schemeClr val="bg1"/>
                    </a:solidFill>
                  </a:rPr>
                  <a:t>g/m</a:t>
                </a:r>
                <a:r>
                  <a:rPr lang="de-DE" sz="1400" baseline="30000" dirty="0" smtClean="0">
                    <a:solidFill>
                      <a:schemeClr val="bg1"/>
                    </a:solidFill>
                  </a:rPr>
                  <a:t>3</a:t>
                </a:r>
                <a:endParaRPr lang="en-US" sz="1400" baseline="30000" dirty="0" smtClean="0">
                  <a:solidFill>
                    <a:schemeClr val="bg1"/>
                  </a:solidFill>
                </a:endParaRPr>
              </a:p>
            </p:txBody>
          </p:sp>
          <p:grpSp>
            <p:nvGrpSpPr>
              <p:cNvPr id="473" name="Gruppieren 472"/>
              <p:cNvGrpSpPr/>
              <p:nvPr/>
            </p:nvGrpSpPr>
            <p:grpSpPr bwMode="gray">
              <a:xfrm>
                <a:off x="732623" y="5271752"/>
                <a:ext cx="2794645" cy="207465"/>
                <a:chOff x="734273" y="2866536"/>
                <a:chExt cx="2838334" cy="210708"/>
              </a:xfrm>
            </p:grpSpPr>
            <p:sp>
              <p:nvSpPr>
                <p:cNvPr id="474" name="Ellipse 473"/>
                <p:cNvSpPr/>
                <p:nvPr/>
              </p:nvSpPr>
              <p:spPr bwMode="gray">
                <a:xfrm flipV="1">
                  <a:off x="7342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5" name="Ellipse 474"/>
                <p:cNvSpPr/>
                <p:nvPr/>
              </p:nvSpPr>
              <p:spPr bwMode="gray">
                <a:xfrm flipV="1">
                  <a:off x="7890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6" name="Ellipse 475"/>
                <p:cNvSpPr/>
                <p:nvPr/>
              </p:nvSpPr>
              <p:spPr bwMode="gray">
                <a:xfrm flipV="1">
                  <a:off x="8438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7" name="Ellipse 476"/>
                <p:cNvSpPr/>
                <p:nvPr/>
              </p:nvSpPr>
              <p:spPr bwMode="gray">
                <a:xfrm flipV="1">
                  <a:off x="898673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8" name="Ellipse 477"/>
                <p:cNvSpPr/>
                <p:nvPr/>
              </p:nvSpPr>
              <p:spPr bwMode="gray">
                <a:xfrm flipV="1">
                  <a:off x="9534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79" name="Ellipse 478"/>
                <p:cNvSpPr/>
                <p:nvPr/>
              </p:nvSpPr>
              <p:spPr bwMode="gray">
                <a:xfrm flipV="1">
                  <a:off x="1008272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0" name="Ellipse 479"/>
                <p:cNvSpPr/>
                <p:nvPr/>
              </p:nvSpPr>
              <p:spPr bwMode="gray">
                <a:xfrm flipV="1">
                  <a:off x="1063071" y="3033702"/>
                  <a:ext cx="43542" cy="43542"/>
                </a:xfrm>
                <a:prstGeom prst="ellipse">
                  <a:avLst/>
                </a:prstGeom>
                <a:solidFill>
                  <a:srgbClr val="22B14C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1" name="Ellipse 480"/>
                <p:cNvSpPr/>
                <p:nvPr/>
              </p:nvSpPr>
              <p:spPr bwMode="gray">
                <a:xfrm flipV="1">
                  <a:off x="11178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2" name="Ellipse 481"/>
                <p:cNvSpPr/>
                <p:nvPr/>
              </p:nvSpPr>
              <p:spPr bwMode="gray">
                <a:xfrm flipV="1">
                  <a:off x="11726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3" name="Ellipse 482"/>
                <p:cNvSpPr/>
                <p:nvPr/>
              </p:nvSpPr>
              <p:spPr bwMode="gray">
                <a:xfrm flipV="1">
                  <a:off x="12274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4" name="Ellipse 483"/>
                <p:cNvSpPr/>
                <p:nvPr/>
              </p:nvSpPr>
              <p:spPr bwMode="gray">
                <a:xfrm flipV="1">
                  <a:off x="12822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5" name="Ellipse 484"/>
                <p:cNvSpPr/>
                <p:nvPr/>
              </p:nvSpPr>
              <p:spPr bwMode="gray">
                <a:xfrm flipV="1">
                  <a:off x="13370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6" name="Ellipse 485"/>
                <p:cNvSpPr/>
                <p:nvPr/>
              </p:nvSpPr>
              <p:spPr bwMode="gray">
                <a:xfrm flipV="1">
                  <a:off x="13918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7" name="Ellipse 486"/>
                <p:cNvSpPr/>
                <p:nvPr/>
              </p:nvSpPr>
              <p:spPr bwMode="gray">
                <a:xfrm flipV="1">
                  <a:off x="1446671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8" name="Ellipse 487"/>
                <p:cNvSpPr/>
                <p:nvPr/>
              </p:nvSpPr>
              <p:spPr bwMode="gray">
                <a:xfrm flipV="1">
                  <a:off x="1501470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89" name="Ellipse 488"/>
                <p:cNvSpPr/>
                <p:nvPr/>
              </p:nvSpPr>
              <p:spPr bwMode="gray">
                <a:xfrm flipV="1">
                  <a:off x="1556272" y="3033702"/>
                  <a:ext cx="43542" cy="43542"/>
                </a:xfrm>
                <a:prstGeom prst="ellipse">
                  <a:avLst/>
                </a:prstGeom>
                <a:solidFill>
                  <a:srgbClr val="FFF2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0" name="Ellipse 489"/>
                <p:cNvSpPr/>
                <p:nvPr/>
              </p:nvSpPr>
              <p:spPr bwMode="gray">
                <a:xfrm flipV="1">
                  <a:off x="16110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1" name="Ellipse 490"/>
                <p:cNvSpPr/>
                <p:nvPr/>
              </p:nvSpPr>
              <p:spPr bwMode="gray">
                <a:xfrm flipV="1">
                  <a:off x="16658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2" name="Ellipse 491"/>
                <p:cNvSpPr/>
                <p:nvPr/>
              </p:nvSpPr>
              <p:spPr bwMode="gray">
                <a:xfrm flipV="1">
                  <a:off x="17206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3" name="Ellipse 492"/>
                <p:cNvSpPr/>
                <p:nvPr/>
              </p:nvSpPr>
              <p:spPr bwMode="gray">
                <a:xfrm flipV="1">
                  <a:off x="17754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4" name="Ellipse 493"/>
                <p:cNvSpPr/>
                <p:nvPr/>
              </p:nvSpPr>
              <p:spPr bwMode="gray">
                <a:xfrm flipV="1">
                  <a:off x="1830271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5" name="Ellipse 494"/>
                <p:cNvSpPr/>
                <p:nvPr/>
              </p:nvSpPr>
              <p:spPr bwMode="gray">
                <a:xfrm flipV="1">
                  <a:off x="18850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6" name="Ellipse 495"/>
                <p:cNvSpPr/>
                <p:nvPr/>
              </p:nvSpPr>
              <p:spPr bwMode="gray">
                <a:xfrm flipV="1">
                  <a:off x="19398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7" name="Ellipse 496"/>
                <p:cNvSpPr/>
                <p:nvPr/>
              </p:nvSpPr>
              <p:spPr bwMode="gray">
                <a:xfrm flipV="1">
                  <a:off x="19946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8" name="Ellipse 497"/>
                <p:cNvSpPr/>
                <p:nvPr/>
              </p:nvSpPr>
              <p:spPr bwMode="gray">
                <a:xfrm flipV="1">
                  <a:off x="20494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99" name="Ellipse 498"/>
                <p:cNvSpPr/>
                <p:nvPr/>
              </p:nvSpPr>
              <p:spPr bwMode="gray">
                <a:xfrm flipV="1">
                  <a:off x="2104270" y="3033702"/>
                  <a:ext cx="43542" cy="43542"/>
                </a:xfrm>
                <a:prstGeom prst="ellipse">
                  <a:avLst/>
                </a:prstGeom>
                <a:solidFill>
                  <a:schemeClr val="accent3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0" name="Ellipse 499"/>
                <p:cNvSpPr/>
                <p:nvPr/>
              </p:nvSpPr>
              <p:spPr bwMode="gray">
                <a:xfrm flipV="1">
                  <a:off x="21590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1" name="Ellipse 500"/>
                <p:cNvSpPr/>
                <p:nvPr/>
              </p:nvSpPr>
              <p:spPr bwMode="gray">
                <a:xfrm flipV="1">
                  <a:off x="22138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2" name="Ellipse 501"/>
                <p:cNvSpPr/>
                <p:nvPr/>
              </p:nvSpPr>
              <p:spPr bwMode="gray">
                <a:xfrm flipV="1">
                  <a:off x="22686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3" name="Ellipse 502"/>
                <p:cNvSpPr/>
                <p:nvPr/>
              </p:nvSpPr>
              <p:spPr bwMode="gray">
                <a:xfrm flipV="1">
                  <a:off x="23234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4" name="Ellipse 503"/>
                <p:cNvSpPr/>
                <p:nvPr/>
              </p:nvSpPr>
              <p:spPr bwMode="gray">
                <a:xfrm flipV="1">
                  <a:off x="2378269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5" name="Ellipse 504"/>
                <p:cNvSpPr/>
                <p:nvPr/>
              </p:nvSpPr>
              <p:spPr bwMode="gray">
                <a:xfrm flipV="1">
                  <a:off x="24330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6" name="Ellipse 505"/>
                <p:cNvSpPr/>
                <p:nvPr/>
              </p:nvSpPr>
              <p:spPr bwMode="gray">
                <a:xfrm flipV="1">
                  <a:off x="24878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7" name="Ellipse 506"/>
                <p:cNvSpPr/>
                <p:nvPr/>
              </p:nvSpPr>
              <p:spPr bwMode="gray">
                <a:xfrm flipV="1">
                  <a:off x="25426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8" name="Ellipse 507"/>
                <p:cNvSpPr/>
                <p:nvPr/>
              </p:nvSpPr>
              <p:spPr bwMode="gray">
                <a:xfrm flipV="1">
                  <a:off x="25974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09" name="Ellipse 508"/>
                <p:cNvSpPr/>
                <p:nvPr/>
              </p:nvSpPr>
              <p:spPr bwMode="gray">
                <a:xfrm flipV="1">
                  <a:off x="2652268" y="3033702"/>
                  <a:ext cx="43542" cy="43542"/>
                </a:xfrm>
                <a:prstGeom prst="ellipse">
                  <a:avLst/>
                </a:prstGeom>
                <a:solidFill>
                  <a:srgbClr val="ED1C2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0" name="Ellipse 509"/>
                <p:cNvSpPr/>
                <p:nvPr/>
              </p:nvSpPr>
              <p:spPr bwMode="gray">
                <a:xfrm flipV="1">
                  <a:off x="27070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1" name="Ellipse 510"/>
                <p:cNvSpPr/>
                <p:nvPr/>
              </p:nvSpPr>
              <p:spPr bwMode="gray">
                <a:xfrm flipV="1">
                  <a:off x="2761868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2" name="Ellipse 511"/>
                <p:cNvSpPr/>
                <p:nvPr/>
              </p:nvSpPr>
              <p:spPr bwMode="gray">
                <a:xfrm flipV="1">
                  <a:off x="28166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3" name="Ellipse 512"/>
                <p:cNvSpPr/>
                <p:nvPr/>
              </p:nvSpPr>
              <p:spPr bwMode="gray">
                <a:xfrm flipV="1">
                  <a:off x="28714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4" name="Ellipse 513"/>
                <p:cNvSpPr/>
                <p:nvPr/>
              </p:nvSpPr>
              <p:spPr bwMode="gray">
                <a:xfrm flipV="1">
                  <a:off x="29262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5" name="Ellipse 514"/>
                <p:cNvSpPr/>
                <p:nvPr/>
              </p:nvSpPr>
              <p:spPr bwMode="gray">
                <a:xfrm flipV="1">
                  <a:off x="29810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6" name="Ellipse 515"/>
                <p:cNvSpPr/>
                <p:nvPr/>
              </p:nvSpPr>
              <p:spPr bwMode="gray">
                <a:xfrm flipV="1">
                  <a:off x="3035867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7" name="Ellipse 516"/>
                <p:cNvSpPr/>
                <p:nvPr/>
              </p:nvSpPr>
              <p:spPr bwMode="gray">
                <a:xfrm flipV="1">
                  <a:off x="3090666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8" name="Ellipse 517"/>
                <p:cNvSpPr/>
                <p:nvPr/>
              </p:nvSpPr>
              <p:spPr bwMode="gray">
                <a:xfrm flipV="1">
                  <a:off x="3145466" y="3033702"/>
                  <a:ext cx="43542" cy="43542"/>
                </a:xfrm>
                <a:prstGeom prst="ellipse">
                  <a:avLst/>
                </a:prstGeom>
                <a:solidFill>
                  <a:schemeClr val="accent4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19" name="Ellipse 518"/>
                <p:cNvSpPr/>
                <p:nvPr/>
              </p:nvSpPr>
              <p:spPr bwMode="gray">
                <a:xfrm flipV="1">
                  <a:off x="32002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0" name="Ellipse 519"/>
                <p:cNvSpPr/>
                <p:nvPr/>
              </p:nvSpPr>
              <p:spPr bwMode="gray">
                <a:xfrm flipV="1">
                  <a:off x="32550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1" name="Ellipse 520"/>
                <p:cNvSpPr/>
                <p:nvPr/>
              </p:nvSpPr>
              <p:spPr bwMode="gray">
                <a:xfrm flipV="1">
                  <a:off x="3309867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2" name="Ellipse 521"/>
                <p:cNvSpPr/>
                <p:nvPr/>
              </p:nvSpPr>
              <p:spPr bwMode="gray">
                <a:xfrm flipV="1">
                  <a:off x="33646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3" name="Ellipse 522"/>
                <p:cNvSpPr/>
                <p:nvPr/>
              </p:nvSpPr>
              <p:spPr bwMode="gray">
                <a:xfrm flipV="1">
                  <a:off x="34194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4" name="Ellipse 523"/>
                <p:cNvSpPr/>
                <p:nvPr/>
              </p:nvSpPr>
              <p:spPr bwMode="gray">
                <a:xfrm flipV="1">
                  <a:off x="3474266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5" name="Ellipse 524"/>
                <p:cNvSpPr/>
                <p:nvPr/>
              </p:nvSpPr>
              <p:spPr bwMode="gray">
                <a:xfrm flipV="1">
                  <a:off x="3529065" y="3033702"/>
                  <a:ext cx="43542" cy="43542"/>
                </a:xfrm>
                <a:prstGeom prst="ellipse">
                  <a:avLst/>
                </a:prstGeom>
                <a:solidFill>
                  <a:srgbClr val="8B0000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526" name="Gleichschenkliges Dreieck 525"/>
                <p:cNvSpPr/>
                <p:nvPr/>
              </p:nvSpPr>
              <p:spPr bwMode="gray">
                <a:xfrm flipV="1">
                  <a:off x="2219125" y="2866536"/>
                  <a:ext cx="142629" cy="135062"/>
                </a:xfrm>
                <a:prstGeom prst="triangle">
                  <a:avLst/>
                </a:prstGeom>
                <a:solidFill>
                  <a:schemeClr val="bg1"/>
                </a:solidFill>
                <a:ln w="9525">
                  <a:noFill/>
                  <a:miter lim="800000"/>
                  <a:headEnd/>
                  <a:tailEnd/>
                </a:ln>
                <a:effectLst/>
                <a:extLst/>
              </p:spPr>
              <p:txBody>
                <a:bodyPr rtlCol="0" anchor="ctr"/>
                <a:lstStyle/>
                <a:p>
                  <a:pPr algn="ctr"/>
                  <a:endParaRPr lang="en-US" dirty="0" err="1" smtClean="0">
                    <a:solidFill>
                      <a:schemeClr val="tx1"/>
                    </a:solidFill>
                  </a:endParaRPr>
                </a:p>
              </p:txBody>
            </p:sp>
          </p:grpSp>
        </p:grpSp>
        <p:grpSp>
          <p:nvGrpSpPr>
            <p:cNvPr id="527" name="Gruppieren 526"/>
            <p:cNvGrpSpPr/>
            <p:nvPr/>
          </p:nvGrpSpPr>
          <p:grpSpPr bwMode="gray">
            <a:xfrm>
              <a:off x="3872944" y="5271752"/>
              <a:ext cx="2794645" cy="207465"/>
              <a:chOff x="734273" y="2866536"/>
              <a:chExt cx="2838334" cy="210708"/>
            </a:xfrm>
          </p:grpSpPr>
          <p:sp>
            <p:nvSpPr>
              <p:cNvPr id="528" name="Ellipse 527"/>
              <p:cNvSpPr/>
              <p:nvPr/>
            </p:nvSpPr>
            <p:spPr bwMode="gray">
              <a:xfrm flipV="1">
                <a:off x="7342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29" name="Ellipse 528"/>
              <p:cNvSpPr/>
              <p:nvPr/>
            </p:nvSpPr>
            <p:spPr bwMode="gray">
              <a:xfrm flipV="1">
                <a:off x="7890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0" name="Ellipse 529"/>
              <p:cNvSpPr/>
              <p:nvPr/>
            </p:nvSpPr>
            <p:spPr bwMode="gray">
              <a:xfrm flipV="1">
                <a:off x="8438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1" name="Ellipse 530"/>
              <p:cNvSpPr/>
              <p:nvPr/>
            </p:nvSpPr>
            <p:spPr bwMode="gray">
              <a:xfrm flipV="1">
                <a:off x="8986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2" name="Ellipse 531"/>
              <p:cNvSpPr/>
              <p:nvPr/>
            </p:nvSpPr>
            <p:spPr bwMode="gray">
              <a:xfrm flipV="1">
                <a:off x="9534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3" name="Ellipse 532"/>
              <p:cNvSpPr/>
              <p:nvPr/>
            </p:nvSpPr>
            <p:spPr bwMode="gray">
              <a:xfrm flipV="1">
                <a:off x="10082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4" name="Ellipse 533"/>
              <p:cNvSpPr/>
              <p:nvPr/>
            </p:nvSpPr>
            <p:spPr bwMode="gray">
              <a:xfrm flipV="1">
                <a:off x="1063071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35" name="Ellipse 534"/>
              <p:cNvSpPr/>
              <p:nvPr/>
            </p:nvSpPr>
            <p:spPr bwMode="gray">
              <a:xfrm flipV="1">
                <a:off x="11178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6" name="Ellipse 535"/>
              <p:cNvSpPr/>
              <p:nvPr/>
            </p:nvSpPr>
            <p:spPr bwMode="gray">
              <a:xfrm flipV="1">
                <a:off x="11726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7" name="Ellipse 536"/>
              <p:cNvSpPr/>
              <p:nvPr/>
            </p:nvSpPr>
            <p:spPr bwMode="gray">
              <a:xfrm flipV="1">
                <a:off x="12274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8" name="Ellipse 537"/>
              <p:cNvSpPr/>
              <p:nvPr/>
            </p:nvSpPr>
            <p:spPr bwMode="gray">
              <a:xfrm flipV="1">
                <a:off x="12822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39" name="Ellipse 538"/>
              <p:cNvSpPr/>
              <p:nvPr/>
            </p:nvSpPr>
            <p:spPr bwMode="gray">
              <a:xfrm flipV="1">
                <a:off x="13370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0" name="Ellipse 539"/>
              <p:cNvSpPr/>
              <p:nvPr/>
            </p:nvSpPr>
            <p:spPr bwMode="gray">
              <a:xfrm flipV="1">
                <a:off x="13918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1" name="Ellipse 540"/>
              <p:cNvSpPr/>
              <p:nvPr/>
            </p:nvSpPr>
            <p:spPr bwMode="gray">
              <a:xfrm flipV="1">
                <a:off x="14466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2" name="Ellipse 541"/>
              <p:cNvSpPr/>
              <p:nvPr/>
            </p:nvSpPr>
            <p:spPr bwMode="gray">
              <a:xfrm flipV="1">
                <a:off x="1501470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3" name="Ellipse 542"/>
              <p:cNvSpPr/>
              <p:nvPr/>
            </p:nvSpPr>
            <p:spPr bwMode="gray">
              <a:xfrm flipV="1">
                <a:off x="15562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44" name="Ellipse 543"/>
              <p:cNvSpPr/>
              <p:nvPr/>
            </p:nvSpPr>
            <p:spPr bwMode="gray">
              <a:xfrm flipV="1">
                <a:off x="16110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5" name="Ellipse 544"/>
              <p:cNvSpPr/>
              <p:nvPr/>
            </p:nvSpPr>
            <p:spPr bwMode="gray">
              <a:xfrm flipV="1">
                <a:off x="16658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6" name="Ellipse 545"/>
              <p:cNvSpPr/>
              <p:nvPr/>
            </p:nvSpPr>
            <p:spPr bwMode="gray">
              <a:xfrm flipV="1">
                <a:off x="17206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7" name="Ellipse 546"/>
              <p:cNvSpPr/>
              <p:nvPr/>
            </p:nvSpPr>
            <p:spPr bwMode="gray">
              <a:xfrm flipV="1">
                <a:off x="1775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8" name="Ellipse 547"/>
              <p:cNvSpPr/>
              <p:nvPr/>
            </p:nvSpPr>
            <p:spPr bwMode="gray">
              <a:xfrm flipV="1">
                <a:off x="18302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49" name="Ellipse 548"/>
              <p:cNvSpPr/>
              <p:nvPr/>
            </p:nvSpPr>
            <p:spPr bwMode="gray">
              <a:xfrm flipV="1">
                <a:off x="18850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0" name="Ellipse 549"/>
              <p:cNvSpPr/>
              <p:nvPr/>
            </p:nvSpPr>
            <p:spPr bwMode="gray">
              <a:xfrm flipV="1">
                <a:off x="19398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1" name="Ellipse 550"/>
              <p:cNvSpPr/>
              <p:nvPr/>
            </p:nvSpPr>
            <p:spPr bwMode="gray">
              <a:xfrm flipV="1">
                <a:off x="19946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2" name="Ellipse 551"/>
              <p:cNvSpPr/>
              <p:nvPr/>
            </p:nvSpPr>
            <p:spPr bwMode="gray">
              <a:xfrm flipV="1">
                <a:off x="2049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3" name="Ellipse 552"/>
              <p:cNvSpPr/>
              <p:nvPr/>
            </p:nvSpPr>
            <p:spPr bwMode="gray">
              <a:xfrm flipV="1">
                <a:off x="21042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4" name="Ellipse 553"/>
              <p:cNvSpPr/>
              <p:nvPr/>
            </p:nvSpPr>
            <p:spPr bwMode="gray">
              <a:xfrm flipV="1">
                <a:off x="21590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5" name="Ellipse 554"/>
              <p:cNvSpPr/>
              <p:nvPr/>
            </p:nvSpPr>
            <p:spPr bwMode="gray">
              <a:xfrm flipV="1">
                <a:off x="22138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6" name="Ellipse 555"/>
              <p:cNvSpPr/>
              <p:nvPr/>
            </p:nvSpPr>
            <p:spPr bwMode="gray">
              <a:xfrm flipV="1">
                <a:off x="22686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7" name="Ellipse 556"/>
              <p:cNvSpPr/>
              <p:nvPr/>
            </p:nvSpPr>
            <p:spPr bwMode="gray">
              <a:xfrm flipV="1">
                <a:off x="23234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8" name="Ellipse 557"/>
              <p:cNvSpPr/>
              <p:nvPr/>
            </p:nvSpPr>
            <p:spPr bwMode="gray">
              <a:xfrm flipV="1">
                <a:off x="23782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59" name="Ellipse 558"/>
              <p:cNvSpPr/>
              <p:nvPr/>
            </p:nvSpPr>
            <p:spPr bwMode="gray">
              <a:xfrm flipV="1">
                <a:off x="24330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0" name="Ellipse 559"/>
              <p:cNvSpPr/>
              <p:nvPr/>
            </p:nvSpPr>
            <p:spPr bwMode="gray">
              <a:xfrm flipV="1">
                <a:off x="24878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1" name="Ellipse 560"/>
              <p:cNvSpPr/>
              <p:nvPr/>
            </p:nvSpPr>
            <p:spPr bwMode="gray">
              <a:xfrm flipV="1">
                <a:off x="25426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2" name="Ellipse 561"/>
              <p:cNvSpPr/>
              <p:nvPr/>
            </p:nvSpPr>
            <p:spPr bwMode="gray">
              <a:xfrm flipV="1">
                <a:off x="25974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3" name="Ellipse 562"/>
              <p:cNvSpPr/>
              <p:nvPr/>
            </p:nvSpPr>
            <p:spPr bwMode="gray">
              <a:xfrm flipV="1">
                <a:off x="26522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4" name="Ellipse 563"/>
              <p:cNvSpPr/>
              <p:nvPr/>
            </p:nvSpPr>
            <p:spPr bwMode="gray">
              <a:xfrm flipV="1">
                <a:off x="2707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5" name="Ellipse 564"/>
              <p:cNvSpPr/>
              <p:nvPr/>
            </p:nvSpPr>
            <p:spPr bwMode="gray">
              <a:xfrm flipV="1">
                <a:off x="2761868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6" name="Ellipse 565"/>
              <p:cNvSpPr/>
              <p:nvPr/>
            </p:nvSpPr>
            <p:spPr bwMode="gray">
              <a:xfrm flipV="1">
                <a:off x="28166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7" name="Ellipse 566"/>
              <p:cNvSpPr/>
              <p:nvPr/>
            </p:nvSpPr>
            <p:spPr bwMode="gray">
              <a:xfrm flipV="1">
                <a:off x="28714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8" name="Ellipse 567"/>
              <p:cNvSpPr/>
              <p:nvPr/>
            </p:nvSpPr>
            <p:spPr bwMode="gray">
              <a:xfrm flipV="1">
                <a:off x="29262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69" name="Ellipse 568"/>
              <p:cNvSpPr/>
              <p:nvPr/>
            </p:nvSpPr>
            <p:spPr bwMode="gray">
              <a:xfrm flipV="1">
                <a:off x="2981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0" name="Ellipse 569"/>
              <p:cNvSpPr/>
              <p:nvPr/>
            </p:nvSpPr>
            <p:spPr bwMode="gray">
              <a:xfrm flipV="1">
                <a:off x="30358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1" name="Ellipse 570"/>
              <p:cNvSpPr/>
              <p:nvPr/>
            </p:nvSpPr>
            <p:spPr bwMode="gray">
              <a:xfrm flipV="1">
                <a:off x="30906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2" name="Ellipse 571"/>
              <p:cNvSpPr/>
              <p:nvPr/>
            </p:nvSpPr>
            <p:spPr bwMode="gray">
              <a:xfrm flipV="1">
                <a:off x="31454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3" name="Ellipse 572"/>
              <p:cNvSpPr/>
              <p:nvPr/>
            </p:nvSpPr>
            <p:spPr bwMode="gray">
              <a:xfrm flipV="1">
                <a:off x="32002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4" name="Ellipse 573"/>
              <p:cNvSpPr/>
              <p:nvPr/>
            </p:nvSpPr>
            <p:spPr bwMode="gray">
              <a:xfrm flipV="1">
                <a:off x="32550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5" name="Ellipse 574"/>
              <p:cNvSpPr/>
              <p:nvPr/>
            </p:nvSpPr>
            <p:spPr bwMode="gray">
              <a:xfrm flipV="1">
                <a:off x="33098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6" name="Ellipse 575"/>
              <p:cNvSpPr/>
              <p:nvPr/>
            </p:nvSpPr>
            <p:spPr bwMode="gray">
              <a:xfrm flipV="1">
                <a:off x="33646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7" name="Ellipse 576"/>
              <p:cNvSpPr/>
              <p:nvPr/>
            </p:nvSpPr>
            <p:spPr bwMode="gray">
              <a:xfrm flipV="1">
                <a:off x="34194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8" name="Ellipse 577"/>
              <p:cNvSpPr/>
              <p:nvPr/>
            </p:nvSpPr>
            <p:spPr bwMode="gray">
              <a:xfrm flipV="1">
                <a:off x="34742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79" name="Ellipse 578"/>
              <p:cNvSpPr/>
              <p:nvPr/>
            </p:nvSpPr>
            <p:spPr bwMode="gray">
              <a:xfrm flipV="1">
                <a:off x="3529065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0" name="Gleichschenkliges Dreieck 579"/>
              <p:cNvSpPr/>
              <p:nvPr/>
            </p:nvSpPr>
            <p:spPr bwMode="gray">
              <a:xfrm flipV="1">
                <a:off x="2745352" y="2866536"/>
                <a:ext cx="142629" cy="135062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581" name="Gruppieren 580"/>
            <p:cNvGrpSpPr/>
            <p:nvPr/>
          </p:nvGrpSpPr>
          <p:grpSpPr bwMode="gray">
            <a:xfrm>
              <a:off x="7023865" y="5271752"/>
              <a:ext cx="2843425" cy="207465"/>
              <a:chOff x="734273" y="2866536"/>
              <a:chExt cx="2887877" cy="210708"/>
            </a:xfrm>
          </p:grpSpPr>
          <p:sp>
            <p:nvSpPr>
              <p:cNvPr id="582" name="Ellipse 581"/>
              <p:cNvSpPr/>
              <p:nvPr/>
            </p:nvSpPr>
            <p:spPr bwMode="gray">
              <a:xfrm flipV="1">
                <a:off x="7342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3" name="Ellipse 582"/>
              <p:cNvSpPr/>
              <p:nvPr/>
            </p:nvSpPr>
            <p:spPr bwMode="gray">
              <a:xfrm flipV="1">
                <a:off x="7890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4" name="Ellipse 583"/>
              <p:cNvSpPr/>
              <p:nvPr/>
            </p:nvSpPr>
            <p:spPr bwMode="gray">
              <a:xfrm flipV="1">
                <a:off x="8438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5" name="Ellipse 584"/>
              <p:cNvSpPr/>
              <p:nvPr/>
            </p:nvSpPr>
            <p:spPr bwMode="gray">
              <a:xfrm flipV="1">
                <a:off x="898673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6" name="Ellipse 585"/>
              <p:cNvSpPr/>
              <p:nvPr/>
            </p:nvSpPr>
            <p:spPr bwMode="gray">
              <a:xfrm flipV="1">
                <a:off x="9534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7" name="Ellipse 586"/>
              <p:cNvSpPr/>
              <p:nvPr/>
            </p:nvSpPr>
            <p:spPr bwMode="gray">
              <a:xfrm flipV="1">
                <a:off x="1008272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8" name="Ellipse 587"/>
              <p:cNvSpPr/>
              <p:nvPr/>
            </p:nvSpPr>
            <p:spPr bwMode="gray">
              <a:xfrm flipV="1">
                <a:off x="1063071" y="3033702"/>
                <a:ext cx="43542" cy="43542"/>
              </a:xfrm>
              <a:prstGeom prst="ellipse">
                <a:avLst/>
              </a:prstGeom>
              <a:solidFill>
                <a:srgbClr val="22B14C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89" name="Ellipse 588"/>
              <p:cNvSpPr/>
              <p:nvPr/>
            </p:nvSpPr>
            <p:spPr bwMode="gray">
              <a:xfrm flipV="1">
                <a:off x="11178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0" name="Ellipse 589"/>
              <p:cNvSpPr/>
              <p:nvPr/>
            </p:nvSpPr>
            <p:spPr bwMode="gray">
              <a:xfrm flipV="1">
                <a:off x="11726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1" name="Ellipse 590"/>
              <p:cNvSpPr/>
              <p:nvPr/>
            </p:nvSpPr>
            <p:spPr bwMode="gray">
              <a:xfrm flipV="1">
                <a:off x="12274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2" name="Ellipse 591"/>
              <p:cNvSpPr/>
              <p:nvPr/>
            </p:nvSpPr>
            <p:spPr bwMode="gray">
              <a:xfrm flipV="1">
                <a:off x="12822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3" name="Ellipse 592"/>
              <p:cNvSpPr/>
              <p:nvPr/>
            </p:nvSpPr>
            <p:spPr bwMode="gray">
              <a:xfrm flipV="1">
                <a:off x="13370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4" name="Ellipse 593"/>
              <p:cNvSpPr/>
              <p:nvPr/>
            </p:nvSpPr>
            <p:spPr bwMode="gray">
              <a:xfrm flipV="1">
                <a:off x="13918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5" name="Ellipse 594"/>
              <p:cNvSpPr/>
              <p:nvPr/>
            </p:nvSpPr>
            <p:spPr bwMode="gray">
              <a:xfrm flipV="1">
                <a:off x="1446671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6" name="Ellipse 595"/>
              <p:cNvSpPr/>
              <p:nvPr/>
            </p:nvSpPr>
            <p:spPr bwMode="gray">
              <a:xfrm flipV="1">
                <a:off x="1501470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7" name="Ellipse 596"/>
              <p:cNvSpPr/>
              <p:nvPr/>
            </p:nvSpPr>
            <p:spPr bwMode="gray">
              <a:xfrm flipV="1">
                <a:off x="1556272" y="3033702"/>
                <a:ext cx="43542" cy="43542"/>
              </a:xfrm>
              <a:prstGeom prst="ellipse">
                <a:avLst/>
              </a:prstGeom>
              <a:solidFill>
                <a:srgbClr val="FFF2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598" name="Ellipse 597"/>
              <p:cNvSpPr/>
              <p:nvPr/>
            </p:nvSpPr>
            <p:spPr bwMode="gray">
              <a:xfrm flipV="1">
                <a:off x="16110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599" name="Ellipse 598"/>
              <p:cNvSpPr/>
              <p:nvPr/>
            </p:nvSpPr>
            <p:spPr bwMode="gray">
              <a:xfrm flipV="1">
                <a:off x="16658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0" name="Ellipse 599"/>
              <p:cNvSpPr/>
              <p:nvPr/>
            </p:nvSpPr>
            <p:spPr bwMode="gray">
              <a:xfrm flipV="1">
                <a:off x="17206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1" name="Ellipse 600"/>
              <p:cNvSpPr/>
              <p:nvPr/>
            </p:nvSpPr>
            <p:spPr bwMode="gray">
              <a:xfrm flipV="1">
                <a:off x="1775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2" name="Ellipse 601"/>
              <p:cNvSpPr/>
              <p:nvPr/>
            </p:nvSpPr>
            <p:spPr bwMode="gray">
              <a:xfrm flipV="1">
                <a:off x="1830271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3" name="Ellipse 602"/>
              <p:cNvSpPr/>
              <p:nvPr/>
            </p:nvSpPr>
            <p:spPr bwMode="gray">
              <a:xfrm flipV="1">
                <a:off x="18850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4" name="Ellipse 603"/>
              <p:cNvSpPr/>
              <p:nvPr/>
            </p:nvSpPr>
            <p:spPr bwMode="gray">
              <a:xfrm flipV="1">
                <a:off x="19398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5" name="Ellipse 604"/>
              <p:cNvSpPr/>
              <p:nvPr/>
            </p:nvSpPr>
            <p:spPr bwMode="gray">
              <a:xfrm flipV="1">
                <a:off x="19946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6" name="Ellipse 605"/>
              <p:cNvSpPr/>
              <p:nvPr/>
            </p:nvSpPr>
            <p:spPr bwMode="gray">
              <a:xfrm flipV="1">
                <a:off x="20494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7" name="Ellipse 606"/>
              <p:cNvSpPr/>
              <p:nvPr/>
            </p:nvSpPr>
            <p:spPr bwMode="gray">
              <a:xfrm flipV="1">
                <a:off x="2104270" y="3033702"/>
                <a:ext cx="43542" cy="43542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8" name="Ellipse 607"/>
              <p:cNvSpPr/>
              <p:nvPr/>
            </p:nvSpPr>
            <p:spPr bwMode="gray">
              <a:xfrm flipV="1">
                <a:off x="21590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09" name="Ellipse 608"/>
              <p:cNvSpPr/>
              <p:nvPr/>
            </p:nvSpPr>
            <p:spPr bwMode="gray">
              <a:xfrm flipV="1">
                <a:off x="22138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0" name="Ellipse 609"/>
              <p:cNvSpPr/>
              <p:nvPr/>
            </p:nvSpPr>
            <p:spPr bwMode="gray">
              <a:xfrm flipV="1">
                <a:off x="22686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1" name="Ellipse 610"/>
              <p:cNvSpPr/>
              <p:nvPr/>
            </p:nvSpPr>
            <p:spPr bwMode="gray">
              <a:xfrm flipV="1">
                <a:off x="23234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2" name="Ellipse 611"/>
              <p:cNvSpPr/>
              <p:nvPr/>
            </p:nvSpPr>
            <p:spPr bwMode="gray">
              <a:xfrm flipV="1">
                <a:off x="2378269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3" name="Ellipse 612"/>
              <p:cNvSpPr/>
              <p:nvPr/>
            </p:nvSpPr>
            <p:spPr bwMode="gray">
              <a:xfrm flipV="1">
                <a:off x="24330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4" name="Ellipse 613"/>
              <p:cNvSpPr/>
              <p:nvPr/>
            </p:nvSpPr>
            <p:spPr bwMode="gray">
              <a:xfrm flipV="1">
                <a:off x="24878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5" name="Ellipse 614"/>
              <p:cNvSpPr/>
              <p:nvPr/>
            </p:nvSpPr>
            <p:spPr bwMode="gray">
              <a:xfrm flipV="1">
                <a:off x="25426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6" name="Ellipse 615"/>
              <p:cNvSpPr/>
              <p:nvPr/>
            </p:nvSpPr>
            <p:spPr bwMode="gray">
              <a:xfrm flipV="1">
                <a:off x="25974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7" name="Ellipse 616"/>
              <p:cNvSpPr/>
              <p:nvPr/>
            </p:nvSpPr>
            <p:spPr bwMode="gray">
              <a:xfrm flipV="1">
                <a:off x="2652268" y="3033702"/>
                <a:ext cx="43542" cy="43542"/>
              </a:xfrm>
              <a:prstGeom prst="ellipse">
                <a:avLst/>
              </a:prstGeom>
              <a:solidFill>
                <a:srgbClr val="ED1C2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8" name="Ellipse 617"/>
              <p:cNvSpPr/>
              <p:nvPr/>
            </p:nvSpPr>
            <p:spPr bwMode="gray">
              <a:xfrm flipV="1">
                <a:off x="2707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19" name="Ellipse 618"/>
              <p:cNvSpPr/>
              <p:nvPr/>
            </p:nvSpPr>
            <p:spPr bwMode="gray">
              <a:xfrm flipV="1">
                <a:off x="2761868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0" name="Ellipse 619"/>
              <p:cNvSpPr/>
              <p:nvPr/>
            </p:nvSpPr>
            <p:spPr bwMode="gray">
              <a:xfrm flipV="1">
                <a:off x="28166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1" name="Ellipse 620"/>
              <p:cNvSpPr/>
              <p:nvPr/>
            </p:nvSpPr>
            <p:spPr bwMode="gray">
              <a:xfrm flipV="1">
                <a:off x="28714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2" name="Ellipse 621"/>
              <p:cNvSpPr/>
              <p:nvPr/>
            </p:nvSpPr>
            <p:spPr bwMode="gray">
              <a:xfrm flipV="1">
                <a:off x="29262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3" name="Ellipse 622"/>
              <p:cNvSpPr/>
              <p:nvPr/>
            </p:nvSpPr>
            <p:spPr bwMode="gray">
              <a:xfrm flipV="1">
                <a:off x="29810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4" name="Ellipse 623"/>
              <p:cNvSpPr/>
              <p:nvPr/>
            </p:nvSpPr>
            <p:spPr bwMode="gray">
              <a:xfrm flipV="1">
                <a:off x="3035867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5" name="Ellipse 624"/>
              <p:cNvSpPr/>
              <p:nvPr/>
            </p:nvSpPr>
            <p:spPr bwMode="gray">
              <a:xfrm flipV="1">
                <a:off x="30906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6" name="Ellipse 625"/>
              <p:cNvSpPr/>
              <p:nvPr/>
            </p:nvSpPr>
            <p:spPr bwMode="gray">
              <a:xfrm flipV="1">
                <a:off x="3145466" y="3033702"/>
                <a:ext cx="43542" cy="43542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7" name="Ellipse 626"/>
              <p:cNvSpPr/>
              <p:nvPr/>
            </p:nvSpPr>
            <p:spPr bwMode="gray">
              <a:xfrm flipV="1">
                <a:off x="32002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8" name="Ellipse 627"/>
              <p:cNvSpPr/>
              <p:nvPr/>
            </p:nvSpPr>
            <p:spPr bwMode="gray">
              <a:xfrm flipV="1">
                <a:off x="32550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29" name="Ellipse 628"/>
              <p:cNvSpPr/>
              <p:nvPr/>
            </p:nvSpPr>
            <p:spPr bwMode="gray">
              <a:xfrm flipV="1">
                <a:off x="3309867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0" name="Ellipse 629"/>
              <p:cNvSpPr/>
              <p:nvPr/>
            </p:nvSpPr>
            <p:spPr bwMode="gray">
              <a:xfrm flipV="1">
                <a:off x="33646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1" name="Ellipse 630"/>
              <p:cNvSpPr/>
              <p:nvPr/>
            </p:nvSpPr>
            <p:spPr bwMode="gray">
              <a:xfrm flipV="1">
                <a:off x="34194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2" name="Ellipse 631"/>
              <p:cNvSpPr/>
              <p:nvPr/>
            </p:nvSpPr>
            <p:spPr bwMode="gray">
              <a:xfrm flipV="1">
                <a:off x="3474266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3" name="Ellipse 632"/>
              <p:cNvSpPr/>
              <p:nvPr/>
            </p:nvSpPr>
            <p:spPr bwMode="gray">
              <a:xfrm flipV="1">
                <a:off x="3529065" y="3033702"/>
                <a:ext cx="43542" cy="43542"/>
              </a:xfrm>
              <a:prstGeom prst="ellipse">
                <a:avLst/>
              </a:prstGeom>
              <a:solidFill>
                <a:srgbClr val="8B0000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  <p:sp>
            <p:nvSpPr>
              <p:cNvPr id="634" name="Gleichschenkliges Dreieck 633"/>
              <p:cNvSpPr/>
              <p:nvPr/>
            </p:nvSpPr>
            <p:spPr bwMode="gray">
              <a:xfrm flipV="1">
                <a:off x="3479521" y="2866536"/>
                <a:ext cx="142629" cy="135062"/>
              </a:xfrm>
              <a:prstGeom prst="triangle">
                <a:avLst/>
              </a:prstGeom>
              <a:solidFill>
                <a:schemeClr val="bg1"/>
              </a:solidFill>
              <a:ln w="9525">
                <a:noFill/>
                <a:miter lim="800000"/>
                <a:headEnd/>
                <a:tailEnd/>
              </a:ln>
              <a:effectLst/>
              <a:extLst/>
            </p:spPr>
            <p:txBody>
              <a:bodyPr rtlCol="0" anchor="ctr"/>
              <a:lstStyle/>
              <a:p>
                <a:pPr algn="ctr"/>
                <a:endParaRPr lang="en-US" dirty="0" err="1" smtClean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348" name="TextBox 347"/>
          <p:cNvSpPr txBox="1"/>
          <p:nvPr/>
        </p:nvSpPr>
        <p:spPr bwMode="gray">
          <a:xfrm>
            <a:off x="7370763" y="1908741"/>
            <a:ext cx="3934545" cy="338554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177800" lvl="1" indent="-177800" eaLnBrk="0" hangingPunct="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Измеряет</a:t>
            </a:r>
            <a:r>
              <a:rPr lang="en-US" dirty="0" smtClean="0">
                <a:solidFill>
                  <a:schemeClr val="tx1"/>
                </a:solidFill>
              </a:rPr>
              <a:t> PM2.5 </a:t>
            </a:r>
            <a:endParaRPr lang="ru-RU" dirty="0" smtClean="0">
              <a:solidFill>
                <a:schemeClr val="tx1"/>
              </a:solidFill>
            </a:endParaRPr>
          </a:p>
          <a:p>
            <a:pPr marL="177800" lvl="1" indent="-177800" eaLnBrk="0" hangingPunct="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en-US" dirty="0" smtClean="0">
                <a:solidFill>
                  <a:schemeClr val="tx1"/>
                </a:solidFill>
              </a:rPr>
              <a:t>DC 0…10 V, Modbus RS485</a:t>
            </a:r>
            <a:br>
              <a:rPr lang="en-US" dirty="0" smtClean="0">
                <a:solidFill>
                  <a:schemeClr val="tx1"/>
                </a:solidFill>
              </a:rPr>
            </a:br>
            <a:r>
              <a:rPr lang="en-US" dirty="0" err="1" smtClean="0">
                <a:solidFill>
                  <a:schemeClr val="tx1"/>
                </a:solidFill>
              </a:rPr>
              <a:t>Climatix</a:t>
            </a:r>
            <a:r>
              <a:rPr lang="en-US" dirty="0" smtClean="0">
                <a:solidFill>
                  <a:schemeClr val="tx1"/>
                </a:solidFill>
              </a:rPr>
              <a:t> plug &amp; play</a:t>
            </a:r>
          </a:p>
          <a:p>
            <a:pPr marL="177800" lvl="1" indent="-177800" eaLnBrk="0" hangingPunct="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Возможность работы от </a:t>
            </a:r>
            <a:r>
              <a:rPr lang="en-US" dirty="0" smtClean="0">
                <a:solidFill>
                  <a:schemeClr val="tx1"/>
                </a:solidFill>
              </a:rPr>
              <a:t>Micro USB</a:t>
            </a:r>
            <a:r>
              <a:rPr lang="ru-RU" dirty="0" smtClean="0">
                <a:solidFill>
                  <a:schemeClr val="tx1"/>
                </a:solidFill>
              </a:rPr>
              <a:t> для </a:t>
            </a:r>
            <a:r>
              <a:rPr lang="ru-RU" dirty="0" err="1" smtClean="0">
                <a:solidFill>
                  <a:schemeClr val="tx1"/>
                </a:solidFill>
              </a:rPr>
              <a:t>демо</a:t>
            </a:r>
            <a:endParaRPr lang="ru-RU" dirty="0">
              <a:solidFill>
                <a:schemeClr val="tx1"/>
              </a:solidFill>
            </a:endParaRPr>
          </a:p>
          <a:p>
            <a:pPr marL="177800" lvl="1" indent="-177800" eaLnBrk="0" hangingPunct="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Долгое время работы  и возможность замены картриджа</a:t>
            </a:r>
          </a:p>
          <a:p>
            <a:pPr marL="177800" lvl="1" indent="-177800" eaLnBrk="0" hangingPunct="0">
              <a:spcBef>
                <a:spcPts val="12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Встроенный датчик приближения для выхода из режима ожидания (модель с дисплеем)</a:t>
            </a:r>
            <a:endParaRPr lang="en-GB" dirty="0" err="1" smtClean="0">
              <a:solidFill>
                <a:schemeClr val="tx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3074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VERSION" val="4.1.2.0"/>
  <p:tag name="CDT_CREATORVERSION" val="4.1.2.0"/>
  <p:tag name="CDT_TEMPLATEVERSION" val="2.0.0"/>
  <p:tag name="CDT_FONTSET" val="Arial"/>
  <p:tag name="CDT_CUSTOMER" val="Siemens_2016_16x9"/>
  <p:tag name="CDT_CUSTOMER_NAME" val="Siemens AG (Corporate Design Update 2016)"/>
  <p:tag name="CDT_LANGUAGE" val="1033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5:111,25-366,85-374,25-593,65"/>
  <p:tag name="CDT_MASTERSHAPE2" val="13:111,25-366,8501-374,25-593,6499"/>
  <p:tag name="CDT_MASTERSHAPE3" val="2:0-0-99,87504-960,5"/>
  <p:tag name="CDT_MASTERSHAPE4" val="11:111,25-0-374,25-355,5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13:111,25-49,37504-374,25-306,1349"/>
  <p:tag name="CDT_MASTERSHAPE3" val="5:111,25-366,85-374,25-593,6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430,875"/>
  <p:tag name="CDT_MASTERSHAPE3" val="4:111,25-491,625-374,25-430,87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83,5"/>
  <p:tag name="CDT_MASTERSHAPE3" val="13:111,25-344,125-374,25-283,4646"/>
  <p:tag name="CDT_MASTERSHAPE4" val="12:111,25-639,0355-374,25-283,4646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430,875"/>
  <p:tag name="CDT_MASTERSHAPE3" val="4:111,25-491,625-181,375-430,875"/>
  <p:tag name="CDT_MASTERSHAPE4" val="5:304-49,37504-181,5-430,875"/>
  <p:tag name="CDT_MASTERSHAPE5" val="6:304-491,625-181,5-430,87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5:111,25-820,4528-374,25-102,047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DELETE_ONEVENT_NEWPRES" val="False"/>
  <p:tag name="CDT_PROT" val="2"/>
  <p:tag name="CDT_PROT_TOP" val="0"/>
  <p:tag name="CDT_PROT_LEFT" val="0"/>
  <p:tag name="CDT_PROT_WIDTH" val="960,5"/>
  <p:tag name="CDT_PROT_HEIGHT" val="99,87504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646,3749"/>
  <p:tag name="CDT_MASTERSHAPE3" val="5:111,25-820,4528-374,25-102,047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532,9134"/>
  <p:tag name="CDT_MASTERSHAPE3" val="6:111,25-820,4528-374,25-102,047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317,4803"/>
  <p:tag name="CDT_MASTERSHAPE3" val="13:111,25-378,2697-374,25-317,4803"/>
  <p:tag name="CDT_MASTERSHAPE4" val="6:111,25-820,4528-374,25-102,047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-49,37504-374,25-204,0945"/>
  <p:tag name="CDT_MASTERSHAPE3" val="13:111,25-264,7559-374,25-215,4941"/>
  <p:tag name="CDT_MASTERSHAPE4" val="12:111,25-491,625-374,25-204,125"/>
  <p:tag name="CDT_MASTERSHAPE5" val="7:111,25-820,4528-374,25-102,047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646,3749"/>
  <p:tag name="CDT_MASTERSHAPE3" val="13:304-49,37504-181,5-646,3749"/>
  <p:tag name="CDT_MASTERSHAPE4" val="6:111,25-820,4528-374,25-102,047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2:0-0-99,87504-960,5"/>
  <p:tag name="CDT_MASTERSHAPE2" val="3:111,2501-49,37504-181,375-317,4803"/>
  <p:tag name="CDT_MASTERSHAPE3" val="13:111,25-378,2696-181,375-317,4803"/>
  <p:tag name="CDT_MASTERSHAPE4" val="12:304-49,37504-181,5-317,4803"/>
  <p:tag name="CDT_MASTERSHAPE5" val="15:304-378,2697-181,5-317,4803"/>
  <p:tag name="CDT_MASTERSHAPE6" val="10:111,25-820,4528-374,25-102,047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99,87504-960,5"/>
  <p:tag name="CDT_MASTERSHAPE2" val="3078:0-0-99,87504-960,5"/>
  <p:tag name="CDT_MASTERSHAPE3" val="3079:111,25-49,37504-374,25-646,3749"/>
  <p:tag name="CDT_MASTERSHAPE4" val="10:0-809,1142-63,50622-113,3858"/>
  <p:tag name="CDT_MASTERSHAPE5" val="16:485,5-0-34-960,5"/>
  <p:tag name="CDT_MASTERSHAPE6" val="17:519,5-0-20,5-309,6244"/>
  <p:tag name="CDT_MASTERSHAPE7" val="18:519,5-0-20,5-138,9988"/>
  <p:tag name="CDT_MASTERSHAPE8" val="19:519,5-298,2492-20,5-662,2507"/>
  <p:tag name="CDT_MASTERSHAPE9" val="20:0-480,25-0,1250394-0,1250394"/>
  <p:tag name="CDT_MASTERSHAPE10" val="3072:0-0-0-0"/>
  <p:tag name="CDT_MASTERSHAPE11" val="3073:0-0-0-0"/>
  <p:tag name="CDT_MASTERSHAPE12" val="3074:0-0-0-0"/>
  <p:tag name="CDT_MASTERSHAPE13" val="3075:0-0-0-0"/>
  <p:tag name="CDT_MASTERSHAPE14" val="3076:0-0-0-0"/>
  <p:tag name="CDT_MASTERSHAPE15" val="3077:0-0-0-0"/>
  <p:tag name="CDT_MASTERSHAPE16" val="3080:0-0-0-0"/>
  <p:tag name="CDT_MASTERSHAPE17" val="3081:0-0-0-0"/>
  <p:tag name="CDT_MASTERSHAPE18" val="3082:0-0-0-0"/>
  <p:tag name="CDT_MASTERSHAPE19" val="3083:0-0-0-0"/>
  <p:tag name="CDT_MASTERSHAPE20" val="3084:0-0-0-0"/>
  <p:tag name="CDT_MASTERSHAPE21" val="3085:0-0-0-0"/>
  <p:tag name="CDT_MASTERSHAPE22" val="3086:0-0-0-0"/>
  <p:tag name="CDT_MASTERSHAPE23" val="3087:0-0-0-0"/>
  <p:tag name="CDT_MASTERSHAPE24" val="3088:0-0-0-0"/>
  <p:tag name="CDT_MASTERSHAPE25" val="3089:0-0-0-0"/>
  <p:tag name="CDT_MASTERSHAPE26" val="3090:0-0-0-0"/>
  <p:tag name="CDT_MASTERSHAPE27" val="3091:0-0-0-0"/>
  <p:tag name="CDT_MASTERSHAPE28" val="3092:0-0-0-0"/>
  <p:tag name="CDT_MASTERSHAPE29" val="3093:0-0-0-0"/>
  <p:tag name="CDT_MASTERSHAPE30" val="3094:0-0-0-0"/>
  <p:tag name="CDT_MASTERSHAPE31" val="3095:0-0-0-0"/>
  <p:tag name="CDT_MASTERSHAPE32" val="3096:0-0-0-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4"/>
  <p:tag name="CDT_TARGETSHAPE_NEW" val="1"/>
  <p:tag name="CDT_PROT" val="3"/>
  <p:tag name="CDT_PROT_TOP" val="485,5"/>
  <p:tag name="CDT_PROT_LEFT" val="0"/>
  <p:tag name="CDT_PROT_WIDTH" val="960,5"/>
  <p:tag name="CDT_PROT_HEIGHT" val="3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8"/>
  <p:tag name="CDT_PROT" val="3"/>
  <p:tag name="CDT_PROT_TOP" val="519,5"/>
  <p:tag name="CDT_PROT_LEFT" val="0"/>
  <p:tag name="CDT_PROT_WIDTH" val="309,6244"/>
  <p:tag name="CDT_PROT_HEIGHT" val="20,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5"/>
  <p:tag name="CDT_TARGETSHAPE_NEW" val="7"/>
  <p:tag name="CDT_PROT" val="3"/>
  <p:tag name="CDT_PROT_TOP" val="519,5"/>
  <p:tag name="CDT_PROT_LEFT" val="0"/>
  <p:tag name="CDT_PROT_WIDTH" val="138,9988"/>
  <p:tag name="CDT_PROT_HEIGHT" val="20,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AUTODIALOG" val="1"/>
  <p:tag name="CDT_FILLFIXED" val="True"/>
  <p:tag name="CDT_LINEFIXED" val="True"/>
  <p:tag name="CDT_FILLUNVISIBLE" val="True"/>
  <p:tag name="CDT_LINEUNVISIBLE" val="True"/>
  <p:tag name="CDT_EXTCOL" val="True"/>
  <p:tag name="CDT_COLTX_NEW" val="25"/>
  <p:tag name="CDT_TARGETSHAPE_NEW" val="9"/>
  <p:tag name="CDT_PROT" val="3"/>
  <p:tag name="CDT_PROT_TOP" val="519,5"/>
  <p:tag name="CDT_PROT_LEFT" val="298,2492"/>
  <p:tag name="CDT_PROT_WIDTH" val="662,2507"/>
  <p:tag name="CDT_PROT_HEIGHT" val="20,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5:0-0-326,7-960,5"/>
  <p:tag name="CDT_MASTERSHAPE2" val="11:0-0-326,7-960,5"/>
  <p:tag name="CDT_MASTERSHAPE3" val="57350:326,7-26,62496-68,50504-933,8749"/>
  <p:tag name="CDT_MASTERSHAPE4" val="57351:295,7487-26,62496-30,95134-933,8749"/>
  <p:tag name="CDT_MASTERSHAPE5" val="12:0-480,25-0,1250394-0,1250394"/>
  <p:tag name="CDT_MASTERSHAPE6" val="13:0-49,37504-76,20732-136,063"/>
  <p:tag name="CDT_MASTERSHAPE7" val="14:485,5-0-34-960,5"/>
  <p:tag name="CDT_MASTERSHAPE8" val="10:485,5-695,75-34-264,75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1"/>
  <p:tag name="CDT_EXTCOL" val="True"/>
  <p:tag name="CDT_COLTX_NEW" val="26"/>
  <p:tag name="CDT_TARGETSHAPE_NEW" val="2"/>
  <p:tag name="CDT_PROT" val="3"/>
  <p:tag name="CDT_PROT_TOP" val="0"/>
  <p:tag name="CDT_PROT_LEFT" val="480,25"/>
  <p:tag name="CDT_PROT_WIDTH" val="0,1250394"/>
  <p:tag name="CDT_PROT_HEIGHT" val="0,1250394"/>
  <p:tag name="CDT_DELETE_ONEVENT_NEWPRES" val="Fals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19"/>
  <p:tag name="CDT_COLFF_NEW" val="19"/>
  <p:tag name="CDT_EXTCOL" val="True"/>
  <p:tag name="CDT_COLTX_NEW" val="20"/>
  <p:tag name="CDT_TARGETSHAPE_NEW" val="3"/>
  <p:tag name="CDT_PROT" val="4"/>
  <p:tag name="CDT_PROT_TOP" val="235,2668"/>
  <p:tag name="CDT_PROT_LEFT" val="26,62496"/>
  <p:tag name="CDT_PROT_WIDTH" val="933,8749"/>
  <p:tag name="CDT_PROT_HEIGHT" val="99,70441"/>
  <p:tag name="CDT_DELETE_ONEVENT_NEWPRES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06,1349"/>
  <p:tag name="CDT_PROT_HEIGHT" val="374,2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DELETE_ONEVENT_NEWPRES" val="False"/>
  <p:tag name="CDT_PROT" val="2"/>
  <p:tag name="CDT_PROT_TOP" val="111,25"/>
  <p:tag name="CDT_PROT_LEFT" val="366,85"/>
  <p:tag name="CDT_PROT_WIDTH" val="593,65"/>
  <p:tag name="CDT_PROT_HEIGHT" val="374,25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374,2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406,08-960,5"/>
  <p:tag name="CDT_MASTERSHAPE2" val="13:0-0-406,08-960,5"/>
  <p:tag name="CDT_MASTERSHAPE3" val="57350:337,575-26,62496-68,50504-933,8749"/>
  <p:tag name="CDT_MASTERSHAPE4" val="57351:406,08-26,62496-30,95134-933,8749"/>
  <p:tag name="CDT_MASTERSHAPE5" val="11:0-480,25-0,1250394-0,1250394"/>
  <p:tag name="CDT_MASTERSHAPE6" val="14:0-49,37504-76,20732-136,063"/>
  <p:tag name="CDT_MASTERSHAPE7" val="15:485,5-0-34-960,5"/>
  <p:tag name="CDT_MASTERSHAPE8" val="12:485,5-695,75-34-264,7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430,875"/>
  <p:tag name="CDT_PROT_HEIGHT" val="374,25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83,5"/>
  <p:tag name="CDT_PROT_HEIGHT" val="374,25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44,125"/>
  <p:tag name="CDT_PROT_WIDTH" val="283,4646"/>
  <p:tag name="CDT_PROT_HEIGHT" val="374,25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639,0355"/>
  <p:tag name="CDT_PROT_WIDTH" val="283,4646"/>
  <p:tag name="CDT_PROT_HEIGHT" val="374,25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430,875"/>
  <p:tag name="CDT_PROT_HEIGHT" val="181,375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430,875"/>
  <p:tag name="CDT_PROT_HEIGHT" val="181,375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430,875"/>
  <p:tag name="CDT_PROT_HEIGHT" val="181,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190,6199-26,62496-99,70441-933,8749"/>
  <p:tag name="CDT_MASTERSHAPE4" val="11:0-480,25-0,1250394-0,1250394"/>
  <p:tag name="CDT_MASTERSHAPE5" val="12:0-49,37504-76,20732-136,063"/>
  <p:tag name="CDT_MASTERSHAPE6" val="15:485,5-0-34-960,5"/>
  <p:tag name="CDT_MASTERSHAPE7" val="57351:190,62-26,62504-30,95134-933,8749"/>
  <p:tag name="CDT_MASTERSHAPE8" val="13:485,5-695,75-34-264,75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1,625"/>
  <p:tag name="CDT_PROT_WIDTH" val="430,875"/>
  <p:tag name="CDT_PROT_HEIGHT" val="181,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646,3749"/>
  <p:tag name="CDT_PROT_HEIGHT" val="374,25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532,9134"/>
  <p:tag name="CDT_PROT_HEIGHT" val="374,2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317,4803"/>
  <p:tag name="CDT_PROT_HEIGHT" val="374,25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7"/>
  <p:tag name="CDT_PROT_WIDTH" val="317,4803"/>
  <p:tag name="CDT_PROT_HEIGHT" val="374,25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,37504"/>
  <p:tag name="CDT_PROT_WIDTH" val="204,0945"/>
  <p:tag name="CDT_PROT_HEIGHT" val="374,25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16:0-0-540-960,5"/>
  <p:tag name="CDT_MASTERSHAPE2" val="14:0-0-540-960,5"/>
  <p:tag name="CDT_MASTERSHAPE3" val="57350:235,2668-26,62496-99,70441-933,8749"/>
  <p:tag name="CDT_MASTERSHAPE4" val="11:0-480,25-0,1250394-0,1250394"/>
  <p:tag name="CDT_MASTERSHAPE5" val="13:0-49,37504-76,20732-136,063"/>
  <p:tag name="CDT_MASTERSHAPE6" val="15:485,5-0-34-960,5"/>
  <p:tag name="CDT_MASTERSHAPE7" val="57351:304-26,62504-30,95134-933,8749"/>
  <p:tag name="CDT_MASTERSHAPE8" val="12:485,5-695,75-34-264,75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264,7559"/>
  <p:tag name="CDT_PROT_WIDTH" val="215,4941"/>
  <p:tag name="CDT_PROT_HEIGHT" val="374,25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491,625"/>
  <p:tag name="CDT_PROT_WIDTH" val="204,125"/>
  <p:tag name="CDT_PROT_HEIGHT" val="374,25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646,3749"/>
  <p:tag name="CDT_PROT_HEIGHT" val="181,37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646,3749"/>
  <p:tag name="CDT_PROT_HEIGHT" val="181,5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01"/>
  <p:tag name="CDT_PROT_LEFT" val="49,37504"/>
  <p:tag name="CDT_PROT_WIDTH" val="317,4803"/>
  <p:tag name="CDT_PROT_HEIGHT" val="181,37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111,25"/>
  <p:tag name="CDT_PROT_LEFT" val="378,2696"/>
  <p:tag name="CDT_PROT_WIDTH" val="317,4803"/>
  <p:tag name="CDT_PROT_HEIGHT" val="181,375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49,37504"/>
  <p:tag name="CDT_PROT_WIDTH" val="317,4803"/>
  <p:tag name="CDT_PROT_HEIGHT" val="181,5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2"/>
  <p:tag name="CDT_PROT_TOP" val="304"/>
  <p:tag name="CDT_PROT_LEFT" val="378,2697"/>
  <p:tag name="CDT_PROT_WIDTH" val="317,4803"/>
  <p:tag name="CDT_PROT_HEIGHT" val="181,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326,75-960,5"/>
  <p:tag name="CDT_MASTERSHAPE2" val="57350:326,7-26,62504-68,50504-933,8749"/>
  <p:tag name="CDT_MASTERSHAPE3" val="57351:295,7487-26,62504-30,95134-933,8749"/>
  <p:tag name="CDT_MASTERSHAPE4" val="6:0-480,25-0,1250394-0,1250394"/>
  <p:tag name="CDT_MASTERSHAPE5" val="8:0-809,1249-63,37504-113,375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True"/>
  <p:tag name="CDT_LINEUNVISIBLE" val="True"/>
  <p:tag name="CDT_AUTODIALOG" val="3"/>
  <p:tag name="CDT_TARGETSHAPE_NEW" val="6"/>
  <p:tag name="CDT_PROT" val="2"/>
  <p:tag name="CDT_PROT_TOP" val="111,25"/>
  <p:tag name="CDT_PROT_LEFT" val="820,4528"/>
  <p:tag name="CDT_PROT_WIDTH" val="102,0472"/>
  <p:tag name="CDT_PROT_HEIGHT" val="374,2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FILLFIXED" val="True"/>
  <p:tag name="CDT_LINEFIXED" val="True"/>
  <p:tag name="CDT_FILLUNVISIBLE" val="False"/>
  <p:tag name="CDT_LINEUNVISIBLE" val="True"/>
  <p:tag name="CDT_COLBF_NEW" val="21"/>
  <p:tag name="CDT_COLFF_NEW" val="21"/>
  <p:tag name="CDT_EXTCOL" val="True"/>
  <p:tag name="CDT_COLTX_NEW" val="22"/>
  <p:tag name="CDT_TARGETSHAPE_NEW" val="20"/>
  <p:tag name="CDT_DELETE_ONEVENT_NEWPRES" val="False"/>
  <p:tag name="CDT_PROT" val="2"/>
  <p:tag name="CDT_PROT_TOP" val="111,25"/>
  <p:tag name="CDT_PROT_LEFT" val="366,8501"/>
  <p:tag name="CDT_PROT_WIDTH" val="593,6499"/>
  <p:tag name="CDT_PROT_HEIGHT" val="374,2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INTERSECT_SLIDE" val="False"/>
  <p:tag name="CDT_NAVBARONTHISSLIDE" val="True"/>
  <p:tag name="CDT_DESIGNS_NAME" val="Siemens 2013 – 16:9"/>
  <p:tag name="CDT_MASTERS_NAME" val="Title fullscreen (big bar up)"/>
  <p:tag name="CDT_LAYOUT_TYPE" val="1"/>
  <p:tag name="CDT_ORIGINAL_DESIGNS_NAME" val="Siemens 2013 – 16:9"/>
  <p:tag name="CDT_ORIGINAL_MASTERS_NAME" val="Title fullscreen (big bar up)"/>
  <p:tag name="CDT_ORIGINAL_LAYOUT_TYPE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PROT" val="3"/>
  <p:tag name="CDT_PROT_TOP" val="0"/>
  <p:tag name="CDT_PROT_LEFT" val="0"/>
  <p:tag name="CDT_PROT_WIDTH" val="0"/>
  <p:tag name="CDT_PROT_HEIGHT" val="0"/>
  <p:tag name="CDT_LINEUNVISIBLE" val="True"/>
  <p:tag name="CDT_LINEFIXED" val="True"/>
  <p:tag name="CDT_DESIGN_NAME" val="Siemens 2013 – 16:9"/>
  <p:tag name="CDT_MASTERSHAPE1" val="7:0-0-406,5005-960,5"/>
  <p:tag name="CDT_MASTERSHAPE2" val="57350:337,575-26,62504-68,50504-933,8749"/>
  <p:tag name="CDT_MASTERSHAPE3" val="57351:406,08-26,62504-30,95134-933,8749"/>
  <p:tag name="CDT_MASTERSHAPE4" val="6:0-480,25-0,1250394-0,1250394"/>
  <p:tag name="CDT_MASTERSHAPE5" val="9:0-809,1249-63,37504-113,37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DT_NAVBARONTHISSLIDE" val="True"/>
  <p:tag name="CDT_INTERSECT_SLIDE" val="False"/>
  <p:tag name="CDT_DESIGNS_NAME" val="Siemens 2013 – 16:9"/>
  <p:tag name="CDT_MASTERS_NAME" val="One object (small) + Navigation"/>
  <p:tag name="CDT_LAYOUT_TYPE" val="32"/>
  <p:tag name="CDT_ORIGINAL_DESIGNS_NAME" val="Siemens 2013 – 16:9"/>
  <p:tag name="CDT_ORIGINAL_MASTERS_NAME" val="One object (small) + Navigation"/>
  <p:tag name="CDT_ORIGINAL_LAYOUT_TYPE" val="32"/>
</p:tagLst>
</file>

<file path=ppt/theme/theme1.xml><?xml version="1.0" encoding="utf-8"?>
<a:theme xmlns:a="http://schemas.openxmlformats.org/drawingml/2006/main" name="Siemens 2016 – 16:9">
  <a:themeElements>
    <a:clrScheme name="Siemens">
      <a:dk1>
        <a:srgbClr val="000000"/>
      </a:dk1>
      <a:lt1>
        <a:srgbClr val="FFFFFF"/>
      </a:lt1>
      <a:dk2>
        <a:srgbClr val="000000"/>
      </a:dk2>
      <a:lt2>
        <a:srgbClr val="ADBECB"/>
      </a:lt2>
      <a:accent1>
        <a:srgbClr val="879BAA"/>
      </a:accent1>
      <a:accent2>
        <a:srgbClr val="BECDD7"/>
      </a:accent2>
      <a:accent3>
        <a:srgbClr val="EB780A"/>
      </a:accent3>
      <a:accent4>
        <a:srgbClr val="641946"/>
      </a:accent4>
      <a:accent5>
        <a:srgbClr val="005F87"/>
      </a:accent5>
      <a:accent6>
        <a:srgbClr val="647D2D"/>
      </a:accent6>
      <a:hlink>
        <a:srgbClr val="EB780A"/>
      </a:hlink>
      <a:folHlink>
        <a:srgbClr val="641946"/>
      </a:folHlink>
    </a:clrScheme>
    <a:fontScheme name="Siemen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9525">
              <a:solidFill>
                <a:schemeClr val="tx1"/>
              </a:solidFill>
              <a:miter lim="800000"/>
              <a:headEnd/>
              <a:tailEnd/>
            </a14:hiddenLine>
          </a:ex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wrap="square" lIns="108000" tIns="54000" rIns="108000" bIns="54000" numCol="1" spcCol="72000" rtlCol="0" anchor="ctr">
        <a:noAutofit/>
      </a:bodyPr>
      <a:lstStyle>
        <a:defPPr algn="ctr">
          <a:lnSpc>
            <a:spcPct val="110000"/>
          </a:lnSpc>
          <a:spcBef>
            <a:spcPct val="0"/>
          </a:spcBef>
          <a:buFont typeface="Wingdings" charset="0"/>
          <a:buNone/>
          <a:defRPr sz="18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Arial" charset="0"/>
            <a:ea typeface="ヒラギノ角ゴ Pro W3" charset="0"/>
          </a:defRPr>
        </a:defPPr>
      </a:lst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110000"/>
          </a:lnSpc>
          <a:spcBef>
            <a:spcPts val="0"/>
          </a:spcBef>
          <a:defRPr sz="1200" dirty="0" smtClean="0">
            <a:solidFill>
              <a:schemeClr val="tx1"/>
            </a:solidFill>
            <a:latin typeface="+mn-lt"/>
            <a:ea typeface="Arial Unicode MS" panose="020B0604020202020204" pitchFamily="34" charset="-128"/>
            <a:cs typeface="Arial Unicode MS" panose="020B0604020202020204" pitchFamily="34" charset="-128"/>
          </a:defRPr>
        </a:defPPr>
      </a:lstStyle>
    </a:tx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2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ppt/theme/theme3.xml><?xml version="1.0" encoding="utf-8"?>
<a:theme xmlns:a="http://schemas.openxmlformats.org/drawingml/2006/main" name="Office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Siemens Snow">
      <a:srgbClr val="FFFFFF"/>
    </a:custClr>
    <a:custClr name="Siemens Accent Yellow dark">
      <a:srgbClr val="EB780A"/>
    </a:custClr>
    <a:custClr name="Siemens Yellow light">
      <a:srgbClr val="FFB900"/>
    </a:custClr>
    <a:custClr name="Siemens Stone (1)">
      <a:srgbClr val="3C464B"/>
    </a:custClr>
    <a:custClr name="Siemens Sand (1)">
      <a:srgbClr val="73645A"/>
    </a:custClr>
    <a:custClr name="Siemens Accent Teal (1)">
      <a:srgbClr val="00646E"/>
    </a:custClr>
    <a:custClr name="Siemens Accent Yellow (1)">
      <a:srgbClr val="7D2D1E"/>
    </a:custClr>
    <a:custClr name="Siemens Accent Red (1)">
      <a:srgbClr val="411432"/>
    </a:custClr>
    <a:custClr name="Siemens Accent Blue (1)">
      <a:srgbClr val="004669"/>
    </a:custClr>
    <a:custClr name="Siemens Accent Green (1)">
      <a:srgbClr val="465F19"/>
    </a:custClr>
    <a:custClr name="True Black">
      <a:srgbClr val="000000"/>
    </a:custClr>
    <a:custClr name="Siemens Accent Red dark">
      <a:srgbClr val="641946"/>
    </a:custClr>
    <a:custClr name="Siemens Red light">
      <a:srgbClr val="AF235F"/>
    </a:custClr>
    <a:custClr name="Siemens Stone (2)">
      <a:srgbClr val="788791"/>
    </a:custClr>
    <a:custClr name="Siemens Sand (2)">
      <a:srgbClr val="9B9682"/>
    </a:custClr>
    <a:custClr name="Siemens Accent Teal (2)">
      <a:srgbClr val="0F8287"/>
    </a:custClr>
    <a:custClr name="Siemens Accent Yellow (2)">
      <a:srgbClr val="C85A1E"/>
    </a:custClr>
    <a:custClr name="Siemens Accent Red (2)">
      <a:srgbClr val="641946"/>
    </a:custClr>
    <a:custClr name="Siemens Accent Blue (2)">
      <a:srgbClr val="005F87"/>
    </a:custClr>
    <a:custClr name="Siemens Accent Green (2)">
      <a:srgbClr val="647D2D"/>
    </a:custClr>
    <a:custClr name="Siemens Stone light">
      <a:srgbClr val="879BAA"/>
    </a:custClr>
    <a:custClr name="Siemens Accent Blue dark">
      <a:srgbClr val="005F87"/>
    </a:custClr>
    <a:custClr name="Siemens Accent Blue light">
      <a:srgbClr val="50BED7"/>
    </a:custClr>
    <a:custClr name="Siemens Stone (3)">
      <a:srgbClr val="9BAFBE"/>
    </a:custClr>
    <a:custClr name="Siemens Sand (3)">
      <a:srgbClr val="B9B9A5"/>
    </a:custClr>
    <a:custClr name="Siemens Accent Teal (3)">
      <a:srgbClr val="32A0A0"/>
    </a:custClr>
    <a:custClr name="Siemens Accent Yellow (3)">
      <a:srgbClr val="EB780A"/>
    </a:custClr>
    <a:custClr name="Siemens Accent Red (3)">
      <a:srgbClr val="871E50"/>
    </a:custClr>
    <a:custClr name="Siemens Accent Blue (3)">
      <a:srgbClr val="2387AA"/>
    </a:custClr>
    <a:custClr name="Siemens Accent Green (3)">
      <a:srgbClr val="879628"/>
    </a:custClr>
    <a:custClr name="Siemens Stone light 35%">
      <a:srgbClr val="BECDD7"/>
    </a:custClr>
    <a:custClr name="Siemens Accent Green">
      <a:srgbClr val="647D2D"/>
    </a:custClr>
    <a:custClr name="Siemens Accent Green light">
      <a:srgbClr val="AAB414"/>
    </a:custClr>
    <a:custClr name="Siemens Stone (4)">
      <a:srgbClr val="BECDD7"/>
    </a:custClr>
    <a:custClr name="Siemens Sand (4)">
      <a:srgbClr val="D7D7CD"/>
    </a:custClr>
    <a:custClr name="Siemens Accent Teal (4)">
      <a:srgbClr val="4BB9B9"/>
    </a:custClr>
    <a:custClr name="Siemens Accent Yellow (4)">
      <a:srgbClr val="FFB900"/>
    </a:custClr>
    <a:custClr name="Siemens Accent Red (4)">
      <a:srgbClr val="AF235F"/>
    </a:custClr>
    <a:custClr name="Siemens Accent Blue (4)">
      <a:srgbClr val="41AAC8"/>
    </a:custClr>
    <a:custClr name="Siemens Accent Green (4)">
      <a:srgbClr val="AAB414"/>
    </a:custClr>
    <a:custClr name="Siemens Sand 35%">
      <a:srgbClr val="D7D7CD"/>
    </a:custClr>
    <a:custClr name="Siemens Accent Teal dark">
      <a:srgbClr val="00646E"/>
    </a:custClr>
    <a:custClr name="Siemens Accent Teal light">
      <a:srgbClr val="41AAAA"/>
    </a:custClr>
    <a:custClr name="Siemens Stone (5)">
      <a:srgbClr val="CDD9E1"/>
    </a:custClr>
    <a:custClr name="Siemens Sand (5)">
      <a:srgbClr val="E1E1D7"/>
    </a:custClr>
    <a:custClr name="Siemens Accent Teal (5)">
      <a:srgbClr val="A5E1E1"/>
    </a:custClr>
    <a:custClr name="Siemens Accent Yellow (5)">
      <a:srgbClr val="FFE178"/>
    </a:custClr>
    <a:custClr name="Siemens Accent Red (5)">
      <a:srgbClr val="D7698C"/>
    </a:custClr>
    <a:custClr name="Siemens Accent Blue(5)">
      <a:srgbClr val="7DD2E6"/>
    </a:custClr>
    <a:custClr name="Siemens Accent Green (5)">
      <a:srgbClr val="D2D741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10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0.xml"/></Relationships>
</file>

<file path=customXml/_rels/item1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1.xml"/></Relationships>
</file>

<file path=customXml/_rels/item1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2.xml"/></Relationships>
</file>

<file path=customXml/_rels/item1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3.xml"/></Relationships>
</file>

<file path=customXml/_rels/item1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4.xml"/></Relationships>
</file>

<file path=customXml/_rels/item1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5.xml"/></Relationships>
</file>

<file path=customXml/_rels/item1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6.xml"/></Relationships>
</file>

<file path=customXml/_rels/item1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7.xml"/></Relationships>
</file>

<file path=customXml/_rels/item1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8.xml"/></Relationships>
</file>

<file path=customXml/_rels/item1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9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_rels/item7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7.xml"/></Relationships>
</file>

<file path=customXml/_rels/item8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8.xml"/></Relationships>
</file>

<file path=customXml/_rels/item9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9.xml"/></Relationships>
</file>

<file path=customXml/item1.xml><?xml version="1.0" encoding="utf-8"?>
<p4ppTags>
  <Name>One object (large)</Name>
  <PpLayout>16</PpLayout>
  <Index>10</Index>
</p4ppTags>
</file>

<file path=customXml/item10.xml><?xml version="1.0" encoding="utf-8"?>
<p4ppTags>
  <Name>Free Content</Name>
  <PpLayout>11</PpLayout>
  <Index>9</Index>
</p4ppTags>
</file>

<file path=customXml/item11.xml><?xml version="1.0" encoding="utf-8"?>
<p4ppTags>
  <Name>Three columns</Name>
  <PpLayout>32</PpLayout>
  <Index>14</Index>
</p4ppTags>
</file>

<file path=customXml/item12.xml><?xml version="1.0" encoding="utf-8"?>
<p4ppTags>
  <Name>Two rows</Name>
  <PpLayout>32</PpLayout>
  <Index>13</Index>
</p4ppTags>
</file>

<file path=customXml/item13.xml><?xml version="1.0" encoding="utf-8"?>
<p4ppTags>
  <Name>Two columns</Name>
  <PpLayout>29</PpLayout>
  <Index>12</Index>
</p4ppTags>
</file>

<file path=customXml/item14.xml><?xml version="1.0" encoding="utf-8"?>
<p4ppTags>
  <Name>Free Content + Navigation</Name>
  <PpLayout>32</PpLayout>
  <Index>16</Index>
</p4ppTags>
</file>

<file path=customXml/item15.xml><?xml version="1.0" encoding="utf-8"?>
<p4ppTags/>
</file>

<file path=customXml/item16.xml><?xml version="1.0" encoding="utf-8"?>
<p:properties xmlns:p="http://schemas.microsoft.com/office/2006/metadata/properties" xmlns:xsi="http://www.w3.org/2001/XMLSchema-instance">
  <documentManagement>
    <Language xmlns="http://schemas.microsoft.com/sharepoint/v3">English (en)</Language>
    <Date_x0020_of_x0020_edition xmlns="9316e3d6-2033-41b2-b3be-54c8d6182623">2017-09-06T22:00:00+00:00</Date_x0020_of_x0020_edition>
    <_Version xmlns="http://schemas.microsoft.com/sharepoint/v3/fields" xsi:nil="true"/>
    <Document_x0020_Type xmlns="9316e3d6-2033-41b2-b3be-54c8d6182623">Presentation</Document_x0020_Type>
    <General_x0020_Topics xmlns="9316e3d6-2033-41b2-b3be-54c8d6182623">
      <Value>Marketing</Value>
    </General_x0020_Topics>
    <_Status xmlns="http://schemas.microsoft.com/sharepoint/v3/fields">Draft</_Status>
    <CoverageSpatialOrgUnit xmlns="9316e3d6-2033-41b2-b3be-54c8d6182623" xsi:nil="true"/>
    <SiemensSecurityClass xmlns="9316e3d6-2033-41b2-b3be-54c8d6182623">For internal use only</SiemensSecurityClass>
    <Sorting xmlns="4da1ac79-34f8-48c6-bc25-94f095141960" xsi:nil="true"/>
    <Owner xmlns="9316e3d6-2033-41b2-b3be-54c8d6182623" xsi:nil="true"/>
    <Intranet_x0020_Topics xmlns="9316e3d6-2033-41b2-b3be-54c8d6182623"/>
  </documentManagement>
</p:properties>
</file>

<file path=customXml/item17.xml><?xml version="1.0" encoding="utf-8"?>
<p4ppTags>
  <Name>One object (small) + Navigation</Name>
  <PpLayout>32</PpLayout>
  <Index>18</Index>
</p4ppTags>
</file>

<file path=customXml/item18.xml><?xml version="1.0" encoding="utf-8"?>
<p4ppTags>
  <Name>One object (large) + Navigation</Name>
  <PpLayout>32</PpLayout>
  <Index>17</Index>
</p4ppTags>
</file>

<file path=customXml/item19.xml><?xml version="1.0" encoding="utf-8"?>
<p4ppTags>
  <Name>Text + Index</Name>
  <PpLayout>32</PpLayout>
  <Index>8</Index>
</p4ppTags>
</file>

<file path=customXml/item2.xml><?xml version="1.0" encoding="utf-8"?>
<p4ppTags>
  <Name>One object (small)</Name>
  <PpLayout>16</PpLayout>
  <Index>11</Index>
</p4ppTags>
</file>

<file path=customXml/item3.xml><?xml version="1.0" encoding="utf-8"?>
<p4ppTags>
  <Name>Two columns + Navigation</Name>
  <PpLayout>32</PpLayout>
  <Index>19</Index>
</p4ppTag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HVP Intranet Document (SCT)" ma:contentTypeID="0x0101003C836C26447F34488734975C211789E301003A4DD804F6FDA844A8CA2A793C8ED149" ma:contentTypeVersion="4" ma:contentTypeDescription="Content type for HVP intranet related documents based on Siemens Content Type." ma:contentTypeScope="" ma:versionID="e01534de09a9d96f0442feaae988e790">
  <xsd:schema xmlns:xsd="http://www.w3.org/2001/XMLSchema" xmlns:p="http://schemas.microsoft.com/office/2006/metadata/properties" xmlns:ns1="http://schemas.microsoft.com/sharepoint/v3" xmlns:ns2="http://schemas.microsoft.com/sharepoint/v3/fields" xmlns:ns3="9316e3d6-2033-41b2-b3be-54c8d6182623" xmlns:ns4="4da1ac79-34f8-48c6-bc25-94f095141960" targetNamespace="http://schemas.microsoft.com/office/2006/metadata/properties" ma:root="true" ma:fieldsID="72c51aaa19562f125e8993ae5ed3ed09" ns1:_="" ns2:_="" ns3:_="" ns4:_="">
    <xsd:import namespace="http://schemas.microsoft.com/sharepoint/v3"/>
    <xsd:import namespace="http://schemas.microsoft.com/sharepoint/v3/fields"/>
    <xsd:import namespace="9316e3d6-2033-41b2-b3be-54c8d6182623"/>
    <xsd:import namespace="4da1ac79-34f8-48c6-bc25-94f095141960"/>
    <xsd:element name="properties">
      <xsd:complexType>
        <xsd:sequence>
          <xsd:element name="documentManagement">
            <xsd:complexType>
              <xsd:all>
                <xsd:element ref="ns2:_Status" minOccurs="0"/>
                <xsd:element ref="ns1:Language" minOccurs="0"/>
                <xsd:element ref="ns3:Owner" minOccurs="0"/>
                <xsd:element ref="ns3:CoverageSpatialOrgUnit" minOccurs="0"/>
                <xsd:element ref="ns3:SiemensSecurityClass"/>
                <xsd:element ref="ns3:Document_x0020_Type" minOccurs="0"/>
                <xsd:element ref="ns3:General_x0020_Topics" minOccurs="0"/>
                <xsd:element ref="ns3:Intranet_x0020_Topics" minOccurs="0"/>
                <xsd:element ref="ns3:Date_x0020_of_x0020_edition" minOccurs="0"/>
                <xsd:element ref="ns2:_Version" minOccurs="0"/>
                <xsd:element ref="ns4:Sorting" minOccurs="0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http://schemas.microsoft.com/sharepoint/v3" elementFormDefault="qualified">
    <xsd:import namespace="http://schemas.microsoft.com/office/2006/documentManagement/types"/>
    <xsd:element name="Language" ma:index="12" nillable="true" ma:displayName="Language" ma:default="English (en)" ma:description="Language with ISO 639-2 language code" ma:format="Dropdown" ma:internalName="Language">
      <xsd:simpleType>
        <xsd:restriction base="dms:Choice">
          <xsd:enumeration value="Arabic (ar)"/>
          <xsd:enumeration value="Bulgarian (bg)"/>
          <xsd:enumeration value="Chinese (zh)"/>
          <xsd:enumeration value="Croatian (hr)"/>
          <xsd:enumeration value="Czech (cs)"/>
          <xsd:enumeration value="Danish (da)"/>
          <xsd:enumeration value="Dutch (nl)"/>
          <xsd:enumeration value="English (en)"/>
          <xsd:enumeration value="Estonian (et)"/>
          <xsd:enumeration value="Finnish (fi)"/>
          <xsd:enumeration value="French (fr)"/>
          <xsd:enumeration value="German (de)"/>
          <xsd:enumeration value="Greek (el)"/>
          <xsd:enumeration value="Hebrew (he)"/>
          <xsd:enumeration value="Hindi (hi)"/>
          <xsd:enumeration value="Hungarian (hu)"/>
          <xsd:enumeration value="Indonesian (id)"/>
          <xsd:enumeration value="Italian (it)"/>
          <xsd:enumeration value="Japanese (ja)"/>
          <xsd:enumeration value="Korean (ko)"/>
          <xsd:enumeration value="Latvian (lv)"/>
          <xsd:enumeration value="Lithuanian (lt)"/>
          <xsd:enumeration value="Malay (ms)"/>
          <xsd:enumeration value="Norwegian (no)"/>
          <xsd:enumeration value="Polish (pl)"/>
          <xsd:enumeration value="Portuguese (pt)"/>
          <xsd:enumeration value="Romanian (ro)"/>
          <xsd:enumeration value="Russian (ru)"/>
          <xsd:enumeration value="Serbian (sr)"/>
          <xsd:enumeration value="Slovak (sk)"/>
          <xsd:enumeration value="Slovenian (sl)"/>
          <xsd:enumeration value="Spanish (es)"/>
          <xsd:enumeration value="Swedish (sv)"/>
          <xsd:enumeration value="Thai (th)"/>
          <xsd:enumeration value="Turkish (tr)"/>
          <xsd:enumeration value="Ukrainian (uk)"/>
          <xsd:enumeration value="Urdu (ur)"/>
          <xsd:enumeration value="Vietnamese (vi)"/>
        </xsd:restriction>
      </xsd:simpleType>
    </xsd:element>
  </xsd:schema>
  <xsd:schema xmlns:xsd="http://www.w3.org/2001/XMLSchema" xmlns:dms="http://schemas.microsoft.com/office/2006/documentManagement/types" targetNamespace="http://schemas.microsoft.com/sharepoint/v3/fields" elementFormDefault="qualified">
    <xsd:import namespace="http://schemas.microsoft.com/office/2006/documentManagement/types"/>
    <xsd:element name="_Status" ma:index="10" nillable="true" ma:displayName="Status" ma:default="Draft" ma:description="Status in the lifecycle" ma:format="Dropdown" ma:internalName="_Status">
      <xsd:simpleType>
        <xsd:restriction base="dms:Choice">
          <xsd:enumeration value="Not started"/>
          <xsd:enumeration value="Draft"/>
          <xsd:enumeration value="Reviewed"/>
          <xsd:enumeration value="Released"/>
          <xsd:enumeration value="Valid"/>
          <xsd:enumeration value="Outdated"/>
          <xsd:enumeration value="Invalid"/>
        </xsd:restriction>
      </xsd:simpleType>
    </xsd:element>
    <xsd:element name="_Version" ma:index="20" nillable="true" ma:displayName="Version (Edition)" ma:description="The version or edition of the resource." ma:internalName="_Version">
      <xsd:simpleType>
        <xsd:restriction base="dms:Text">
          <xsd:maxLength value="255"/>
        </xsd:restriction>
      </xsd:simpleType>
    </xsd:element>
  </xsd:schema>
  <xsd:schema xmlns:xsd="http://www.w3.org/2001/XMLSchema" xmlns:dms="http://schemas.microsoft.com/office/2006/documentManagement/types" targetNamespace="9316e3d6-2033-41b2-b3be-54c8d6182623" elementFormDefault="qualified">
    <xsd:import namespace="http://schemas.microsoft.com/office/2006/documentManagement/types"/>
    <xsd:element name="Owner" ma:index="13" nillable="true" ma:displayName="Owner" ma:description="organizational unit / department (official abbreviation)" ma:internalName="Owner">
      <xsd:simpleType>
        <xsd:restriction base="dms:Text">
          <xsd:maxLength value="255"/>
        </xsd:restriction>
      </xsd:simpleType>
    </xsd:element>
    <xsd:element name="CoverageSpatialOrgUnit" ma:index="14" nillable="true" ma:displayName="Scope (organizational)" ma:description="The organizational units for which the resource is relevant" ma:internalName="CoverageSpatialOrgUnit">
      <xsd:simpleType>
        <xsd:restriction base="dms:Text">
          <xsd:maxLength value="255"/>
        </xsd:restriction>
      </xsd:simpleType>
    </xsd:element>
    <xsd:element name="SiemensSecurityClass" ma:index="15" ma:displayName="Security Class" ma:default="For internal use only" ma:format="Dropdown" ma:internalName="SiemensSecurityClass">
      <xsd:simpleType>
        <xsd:restriction base="dms:Choice">
          <xsd:enumeration value="No Restriction"/>
          <xsd:enumeration value="For internal use only"/>
          <xsd:enumeration value="Confidential"/>
          <xsd:enumeration value="Strictly Confidential"/>
        </xsd:restriction>
      </xsd:simpleType>
    </xsd:element>
    <xsd:element name="Document_x0020_Type" ma:index="16" nillable="true" ma:displayName="Document Type" ma:description="Choose a type for the document." ma:format="Dropdown" ma:internalName="Document_x0020_Type">
      <xsd:simpleType>
        <xsd:restriction base="dms:Choice">
          <xsd:enumeration value="Advertisment"/>
          <xsd:enumeration value="Brochure, Flyer"/>
          <xsd:enumeration value="Case study"/>
          <xsd:enumeration value="Chart"/>
          <xsd:enumeration value="Checklist"/>
          <xsd:enumeration value="Circular"/>
          <xsd:enumeration value="FAQ"/>
          <xsd:enumeration value="Form, Template"/>
          <xsd:enumeration value="Glossary"/>
          <xsd:enumeration value="Guideline"/>
          <xsd:enumeration value="List"/>
          <xsd:enumeration value="Multimedia"/>
          <xsd:enumeration value="Poster"/>
          <xsd:enumeration value="Presentation"/>
          <xsd:enumeration value="Press article"/>
          <xsd:enumeration value="Procedure"/>
          <xsd:enumeration value="Process Description"/>
          <xsd:enumeration value="Project Documentation"/>
          <xsd:enumeration value="Report, Minutes"/>
          <xsd:enumeration value="Sales documentation"/>
          <xsd:enumeration value="Survey"/>
          <xsd:enumeration value="Technical documentation"/>
          <xsd:enumeration value="unknown"/>
          <xsd:enumeration value="Work Instruction"/>
        </xsd:restriction>
      </xsd:simpleType>
    </xsd:element>
    <xsd:element name="General_x0020_Topics" ma:index="17" nillable="true" ma:displayName="General Topics" ma:description="Choose the related General Topics for this document." ma:internalName="General_x0020_Topic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Application"/>
                    <xsd:enumeration value="Best Practice"/>
                    <xsd:enumeration value="Marketing"/>
                    <xsd:enumeration value="Newsletter"/>
                    <xsd:enumeration value="Organizational"/>
                    <xsd:enumeration value="Process"/>
                    <xsd:enumeration value="Project"/>
                    <xsd:enumeration value="Tools"/>
                    <xsd:enumeration value="Training"/>
                  </xsd:restriction>
                </xsd:simpleType>
              </xsd:element>
            </xsd:sequence>
          </xsd:extension>
        </xsd:complexContent>
      </xsd:complexType>
    </xsd:element>
    <xsd:element name="Intranet_x0020_Topics" ma:index="18" nillable="true" ma:displayName="Intranet Topics" ma:description="Choose the related Intranet Topics for this document." ma:internalName="Intranet_x0020_Topics">
      <xsd:complexType>
        <xsd:complexContent>
          <xsd:extension base="dms:MultiChoice">
            <xsd:sequence>
              <xsd:element name="Value" maxOccurs="unbounded" minOccurs="0" nillable="true">
                <xsd:simpleType>
                  <xsd:restriction base="dms:Choice">
                    <xsd:enumeration value="Controllers for HVAC"/>
                    <xsd:enumeration value="DESIGO"/>
                    <xsd:enumeration value="Damper Actuators"/>
                    <xsd:enumeration value="EHS"/>
                    <xsd:enumeration value="Field Support"/>
                    <xsd:enumeration value="Home Automation"/>
                    <xsd:enumeration value="CPS"/>
                    <xsd:enumeration value="CPS Business Development"/>
                    <xsd:enumeration value="CPS Business Excellence"/>
                    <xsd:enumeration value="CPS Quality"/>
                    <xsd:enumeration value="Installer"/>
                    <xsd:enumeration value="Legacy"/>
                    <xsd:enumeration value="Manufacturing"/>
                    <xsd:enumeration value="OEM ACS"/>
                    <xsd:enumeration value="OEM HCS"/>
                    <xsd:enumeration value="Publication"/>
                    <xsd:enumeration value="Reseller"/>
                    <xsd:enumeration value="Residential"/>
                    <xsd:enumeration value="Room Automation"/>
                    <xsd:enumeration value="Room Thermostats"/>
                    <xsd:enumeration value="Sensors"/>
                    <xsd:enumeration value="System Migration"/>
                    <xsd:enumeration value="Techn. Documentation"/>
                    <xsd:enumeration value="Techn. Standardization"/>
                    <xsd:enumeration value="Valves &amp; Actuators"/>
                    <xsd:enumeration value="VAP"/>
                    <xsd:enumeration value="VSD"/>
                  </xsd:restriction>
                </xsd:simpleType>
              </xsd:element>
            </xsd:sequence>
          </xsd:extension>
        </xsd:complexContent>
      </xsd:complexType>
    </xsd:element>
    <xsd:element name="Date_x0020_of_x0020_edition" ma:index="19" nillable="true" ma:displayName="Date of edition" ma:default="[today]" ma:description="Date of formal issuance of the resource." ma:format="DateOnly" ma:internalName="Date_x0020_of_x0020_edition">
      <xsd:simpleType>
        <xsd:restriction base="dms:DateTime"/>
      </xsd:simpleType>
    </xsd:element>
  </xsd:schema>
  <xsd:schema xmlns:xsd="http://www.w3.org/2001/XMLSchema" xmlns:dms="http://schemas.microsoft.com/office/2006/documentManagement/types" targetNamespace="4da1ac79-34f8-48c6-bc25-94f095141960" elementFormDefault="qualified">
    <xsd:import namespace="http://schemas.microsoft.com/office/2006/documentManagement/types"/>
    <xsd:element name="Sorting" ma:index="21" nillable="true" ma:displayName="Sorting" ma:internalName="Sorting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8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 ma:index="11" ma:displayName="Summary"/>
        <xsd:element name="keywords" minOccurs="0" maxOccurs="1" type="xsd:string" ma:index="9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6.xml><?xml version="1.0" encoding="utf-8"?>
<p4ppTags>
  <Name>Four objects + Navigation</Name>
  <PpLayout>32</PpLayout>
  <Index>22</Index>
</p4ppTags>
</file>

<file path=customXml/item7.xml><?xml version="1.0" encoding="utf-8"?>
<p4ppTags>
  <Name>Four objects</Name>
  <PpLayout>24</PpLayout>
  <Index>15</Index>
</p4ppTags>
</file>

<file path=customXml/item8.xml><?xml version="1.0" encoding="utf-8"?>
<p4ppTags>
  <Name>Three columns + Navigation</Name>
  <PpLayout>32</PpLayout>
  <Index>20</Index>
</p4ppTags>
</file>

<file path=customXml/item9.xml><?xml version="1.0" encoding="utf-8"?>
<p4ppTags>
  <Name>Two rows + Navigation</Name>
  <PpLayout>32</PpLayout>
  <Index>21</Index>
</p4ppTags>
</file>

<file path=customXml/itemProps1.xml><?xml version="1.0" encoding="utf-8"?>
<ds:datastoreItem xmlns:ds="http://schemas.openxmlformats.org/officeDocument/2006/customXml" ds:itemID="{80661B8B-A327-44F9-823B-4D9EE0B3EC78}">
  <ds:schemaRefs/>
</ds:datastoreItem>
</file>

<file path=customXml/itemProps10.xml><?xml version="1.0" encoding="utf-8"?>
<ds:datastoreItem xmlns:ds="http://schemas.openxmlformats.org/officeDocument/2006/customXml" ds:itemID="{D8097D0C-BE3E-4AEC-9593-65CFCCB19297}">
  <ds:schemaRefs/>
</ds:datastoreItem>
</file>

<file path=customXml/itemProps11.xml><?xml version="1.0" encoding="utf-8"?>
<ds:datastoreItem xmlns:ds="http://schemas.openxmlformats.org/officeDocument/2006/customXml" ds:itemID="{15CF3461-70D1-4B54-AFAB-DAFDA0A238CD}">
  <ds:schemaRefs/>
</ds:datastoreItem>
</file>

<file path=customXml/itemProps12.xml><?xml version="1.0" encoding="utf-8"?>
<ds:datastoreItem xmlns:ds="http://schemas.openxmlformats.org/officeDocument/2006/customXml" ds:itemID="{38AB8DE4-FD9B-4166-BEC3-3F1753596133}">
  <ds:schemaRefs/>
</ds:datastoreItem>
</file>

<file path=customXml/itemProps13.xml><?xml version="1.0" encoding="utf-8"?>
<ds:datastoreItem xmlns:ds="http://schemas.openxmlformats.org/officeDocument/2006/customXml" ds:itemID="{1666F4C2-68F5-4840-A44A-1A646C0925A1}">
  <ds:schemaRefs/>
</ds:datastoreItem>
</file>

<file path=customXml/itemProps14.xml><?xml version="1.0" encoding="utf-8"?>
<ds:datastoreItem xmlns:ds="http://schemas.openxmlformats.org/officeDocument/2006/customXml" ds:itemID="{7CC5F709-E74B-4E5F-A728-923D5062EBEF}">
  <ds:schemaRefs/>
</ds:datastoreItem>
</file>

<file path=customXml/itemProps15.xml><?xml version="1.0" encoding="utf-8"?>
<ds:datastoreItem xmlns:ds="http://schemas.openxmlformats.org/officeDocument/2006/customXml" ds:itemID="{572FBA73-6DBF-45DA-8282-9342320CFAB0}">
  <ds:schemaRefs/>
</ds:datastoreItem>
</file>

<file path=customXml/itemProps16.xml><?xml version="1.0" encoding="utf-8"?>
<ds:datastoreItem xmlns:ds="http://schemas.openxmlformats.org/officeDocument/2006/customXml" ds:itemID="{55857113-301C-461C-8323-A38B45C27868}">
  <ds:schemaRefs>
    <ds:schemaRef ds:uri="http://schemas.microsoft.com/office/2006/documentManagement/types"/>
    <ds:schemaRef ds:uri="http://schemas.microsoft.com/sharepoint/v3/fields"/>
    <ds:schemaRef ds:uri="http://schemas.openxmlformats.org/package/2006/metadata/core-properties"/>
    <ds:schemaRef ds:uri="http://purl.org/dc/terms/"/>
    <ds:schemaRef ds:uri="9316e3d6-2033-41b2-b3be-54c8d6182623"/>
    <ds:schemaRef ds:uri="http://purl.org/dc/dcmitype/"/>
    <ds:schemaRef ds:uri="4da1ac79-34f8-48c6-bc25-94f095141960"/>
    <ds:schemaRef ds:uri="http://schemas.microsoft.com/sharepoint/v3"/>
    <ds:schemaRef ds:uri="http://schemas.microsoft.com/office/2006/metadata/properties"/>
    <ds:schemaRef ds:uri="http://www.w3.org/XML/1998/namespace"/>
    <ds:schemaRef ds:uri="http://purl.org/dc/elements/1.1/"/>
  </ds:schemaRefs>
</ds:datastoreItem>
</file>

<file path=customXml/itemProps17.xml><?xml version="1.0" encoding="utf-8"?>
<ds:datastoreItem xmlns:ds="http://schemas.openxmlformats.org/officeDocument/2006/customXml" ds:itemID="{D9FE249F-833E-4CF0-BECB-552D01D7DC9E}">
  <ds:schemaRefs/>
</ds:datastoreItem>
</file>

<file path=customXml/itemProps18.xml><?xml version="1.0" encoding="utf-8"?>
<ds:datastoreItem xmlns:ds="http://schemas.openxmlformats.org/officeDocument/2006/customXml" ds:itemID="{B27F640E-84DF-4F97-BC70-D045F1E6594F}">
  <ds:schemaRefs/>
</ds:datastoreItem>
</file>

<file path=customXml/itemProps19.xml><?xml version="1.0" encoding="utf-8"?>
<ds:datastoreItem xmlns:ds="http://schemas.openxmlformats.org/officeDocument/2006/customXml" ds:itemID="{7E35FEDB-1F0E-4D67-A313-4AC59C26FF29}">
  <ds:schemaRefs/>
</ds:datastoreItem>
</file>

<file path=customXml/itemProps2.xml><?xml version="1.0" encoding="utf-8"?>
<ds:datastoreItem xmlns:ds="http://schemas.openxmlformats.org/officeDocument/2006/customXml" ds:itemID="{1618AA06-B22E-4D19-9680-0D7830426729}">
  <ds:schemaRefs/>
</ds:datastoreItem>
</file>

<file path=customXml/itemProps3.xml><?xml version="1.0" encoding="utf-8"?>
<ds:datastoreItem xmlns:ds="http://schemas.openxmlformats.org/officeDocument/2006/customXml" ds:itemID="{D7BABA95-BFFE-422B-8591-3271669EEA88}">
  <ds:schemaRefs/>
</ds:datastoreItem>
</file>

<file path=customXml/itemProps4.xml><?xml version="1.0" encoding="utf-8"?>
<ds:datastoreItem xmlns:ds="http://schemas.openxmlformats.org/officeDocument/2006/customXml" ds:itemID="{D61A0FA5-E049-4EB8-B626-0D917BEA66F5}">
  <ds:schemaRefs>
    <ds:schemaRef ds:uri="http://schemas.microsoft.com/sharepoint/v3/contenttype/forms"/>
  </ds:schemaRefs>
</ds:datastoreItem>
</file>

<file path=customXml/itemProps5.xml><?xml version="1.0" encoding="utf-8"?>
<ds:datastoreItem xmlns:ds="http://schemas.openxmlformats.org/officeDocument/2006/customXml" ds:itemID="{4A747207-BD68-405C-893C-057C69D9F82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http://schemas.microsoft.com/sharepoint/v3/fields"/>
    <ds:schemaRef ds:uri="9316e3d6-2033-41b2-b3be-54c8d6182623"/>
    <ds:schemaRef ds:uri="4da1ac79-34f8-48c6-bc25-94f095141960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6.xml><?xml version="1.0" encoding="utf-8"?>
<ds:datastoreItem xmlns:ds="http://schemas.openxmlformats.org/officeDocument/2006/customXml" ds:itemID="{EAB520BC-C6EC-457E-8AB5-55DB67C86858}">
  <ds:schemaRefs/>
</ds:datastoreItem>
</file>

<file path=customXml/itemProps7.xml><?xml version="1.0" encoding="utf-8"?>
<ds:datastoreItem xmlns:ds="http://schemas.openxmlformats.org/officeDocument/2006/customXml" ds:itemID="{1581BFFB-B4CE-47A8-BE77-DC1339B1E5A7}">
  <ds:schemaRefs/>
</ds:datastoreItem>
</file>

<file path=customXml/itemProps8.xml><?xml version="1.0" encoding="utf-8"?>
<ds:datastoreItem xmlns:ds="http://schemas.openxmlformats.org/officeDocument/2006/customXml" ds:itemID="{85D77EE6-52B7-48BE-9EDB-748F1EBB53DE}">
  <ds:schemaRefs/>
</ds:datastoreItem>
</file>

<file path=customXml/itemProps9.xml><?xml version="1.0" encoding="utf-8"?>
<ds:datastoreItem xmlns:ds="http://schemas.openxmlformats.org/officeDocument/2006/customXml" ds:itemID="{6C79E4F8-DCFB-483C-880A-AEEC6AAFC838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M_PPT_2007_16x9_DEU_V2_0_0_BASIC.pptx</Template>
  <TotalTime>0</TotalTime>
  <Words>350</Words>
  <Application>Microsoft Office PowerPoint</Application>
  <PresentationFormat>Произвольный</PresentationFormat>
  <Paragraphs>125</Paragraphs>
  <Slides>9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9</vt:i4>
      </vt:variant>
    </vt:vector>
  </HeadingPairs>
  <TitlesOfParts>
    <vt:vector size="12" baseType="lpstr">
      <vt:lpstr>Siemens 2016 – 16:9</vt:lpstr>
      <vt:lpstr>think-cell Slide</vt:lpstr>
      <vt:lpstr>think-cell Folie</vt:lpstr>
      <vt:lpstr>Датчики Symaro  Надежные, точные,  легкие в монтаже</vt:lpstr>
      <vt:lpstr>Датчики</vt:lpstr>
      <vt:lpstr>Датчики Symaro – простота монтажа</vt:lpstr>
      <vt:lpstr>Датчики Symaro – точность измерений</vt:lpstr>
      <vt:lpstr>Датчики мелкой пыли  для PM2.5 и PM10</vt:lpstr>
      <vt:lpstr>Мелкая пыль проблема которая затрагивает каждого</vt:lpstr>
      <vt:lpstr>Опасность мелкой пыли и смога</vt:lpstr>
      <vt:lpstr>Линейка датчиков мелкой пыли</vt:lpstr>
      <vt:lpstr>Отображение на дисплее в зависимости от концентрации</vt:lpstr>
    </vt:vector>
  </TitlesOfParts>
  <Company>SIEMENS AG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ymaro Sensors Overview Presentation</dc:title>
  <dc:creator>Frankfurt, Yury (RC-RU BT MOW S-CPS)</dc:creator>
  <cp:lastModifiedBy>Frankfurt Yury</cp:lastModifiedBy>
  <cp:revision>236</cp:revision>
  <cp:lastPrinted>2012-10-29T09:59:01Z</cp:lastPrinted>
  <dcterms:created xsi:type="dcterms:W3CDTF">2006-04-07T10:01:45Z</dcterms:created>
  <dcterms:modified xsi:type="dcterms:W3CDTF">2018-06-04T11:57:08Z</dcterms:modified>
  <cp:contentStatus>Valid</cp:contentStatus>
  <dc:language>English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Language">
    <vt:lpwstr>English</vt:lpwstr>
  </property>
  <property fmtid="{D5CDD505-2E9C-101B-9397-08002B2CF9AE}" pid="3" name="Release date">
    <vt:lpwstr>February 2017</vt:lpwstr>
  </property>
  <property fmtid="{D5CDD505-2E9C-101B-9397-08002B2CF9AE}" pid="4" name="Office version">
    <vt:lpwstr>2007 and higher</vt:lpwstr>
  </property>
  <property fmtid="{D5CDD505-2E9C-101B-9397-08002B2CF9AE}" pid="5" name="Release version">
    <vt:lpwstr>1.1</vt:lpwstr>
  </property>
  <property fmtid="{D5CDD505-2E9C-101B-9397-08002B2CF9AE}" pid="6" name="ContentTypeId">
    <vt:lpwstr>0x0101003C836C26447F34488734975C211789E301003A4DD804F6FDA844A8CA2A793C8ED149</vt:lpwstr>
  </property>
</Properties>
</file>